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6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7.xml" ContentType="application/vnd.openxmlformats-officedocument.theme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8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9.xml" ContentType="application/vnd.openxmlformats-officedocument.theme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10.xml" ContentType="application/vnd.openxmlformats-officedocument.theme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11.xml" ContentType="application/vnd.openxmlformats-officedocument.theme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12.xml" ContentType="application/vnd.openxmlformats-officedocument.theme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13.xml" ContentType="application/vnd.openxmlformats-officedocument.theme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14.xml" ContentType="application/vnd.openxmlformats-officedocument.theme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heme/theme15.xml" ContentType="application/vnd.openxmlformats-officedocument.theme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theme/theme16.xml" ContentType="application/vnd.openxmlformats-officedocument.theme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theme/theme17.xml" ContentType="application/vnd.openxmlformats-officedocument.theme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theme/theme18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theme/theme19.xml" ContentType="application/vnd.openxmlformats-officedocument.theme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theme/theme20.xml" ContentType="application/vnd.openxmlformats-officedocument.theme+xml"/>
  <Override PartName="/ppt/theme/theme21.xml" ContentType="application/vnd.openxmlformats-officedocument.theme+xml"/>
  <Override PartName="/ppt/theme/theme2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4"/>
    <p:sldMasterId id="2147483651" r:id="rId5"/>
    <p:sldMasterId id="2147483659" r:id="rId6"/>
    <p:sldMasterId id="2147483661" r:id="rId7"/>
    <p:sldMasterId id="2147483663" r:id="rId8"/>
    <p:sldMasterId id="2147483717" r:id="rId9"/>
    <p:sldMasterId id="2147483730" r:id="rId10"/>
    <p:sldMasterId id="2147483743" r:id="rId11"/>
    <p:sldMasterId id="2147483759" r:id="rId12"/>
    <p:sldMasterId id="2147483783" r:id="rId13"/>
    <p:sldMasterId id="2147483795" r:id="rId14"/>
    <p:sldMasterId id="2147483807" r:id="rId15"/>
    <p:sldMasterId id="2147483833" r:id="rId16"/>
    <p:sldMasterId id="2147483857" r:id="rId17"/>
    <p:sldMasterId id="2147483870" r:id="rId18"/>
    <p:sldMasterId id="2147483884" r:id="rId19"/>
    <p:sldMasterId id="2147483920" r:id="rId20"/>
    <p:sldMasterId id="2147483962" r:id="rId21"/>
    <p:sldMasterId id="2147483983" r:id="rId22"/>
    <p:sldMasterId id="2147483997" r:id="rId23"/>
  </p:sldMasterIdLst>
  <p:notesMasterIdLst>
    <p:notesMasterId r:id="rId33"/>
  </p:notesMasterIdLst>
  <p:handoutMasterIdLst>
    <p:handoutMasterId r:id="rId34"/>
  </p:handoutMasterIdLst>
  <p:sldIdLst>
    <p:sldId id="1762" r:id="rId24"/>
    <p:sldId id="1780" r:id="rId25"/>
    <p:sldId id="1785" r:id="rId26"/>
    <p:sldId id="1783" r:id="rId27"/>
    <p:sldId id="1797" r:id="rId28"/>
    <p:sldId id="1781" r:id="rId29"/>
    <p:sldId id="1786" r:id="rId30"/>
    <p:sldId id="1787" r:id="rId31"/>
    <p:sldId id="1796" r:id="rId32"/>
  </p:sldIdLst>
  <p:sldSz cx="9144000" cy="6858000" type="screen4x3"/>
  <p:notesSz cx="6797675" cy="9926638"/>
  <p:custDataLst>
    <p:tags r:id="rId35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C5961FFB-52ED-452A-8189-CD3EE54FDD52}">
          <p14:sldIdLst>
            <p14:sldId id="1762"/>
            <p14:sldId id="1780"/>
            <p14:sldId id="1785"/>
            <p14:sldId id="1783"/>
            <p14:sldId id="1797"/>
            <p14:sldId id="1781"/>
            <p14:sldId id="1786"/>
            <p14:sldId id="1787"/>
            <p14:sldId id="1796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704" userDrawn="1">
          <p15:clr>
            <a:srgbClr val="A4A3A4"/>
          </p15:clr>
        </p15:guide>
        <p15:guide id="2" pos="3107">
          <p15:clr>
            <a:srgbClr val="A4A3A4"/>
          </p15:clr>
        </p15:guide>
        <p15:guide id="3" pos="20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06" userDrawn="1">
          <p15:clr>
            <a:srgbClr val="A4A3A4"/>
          </p15:clr>
        </p15:guide>
        <p15:guide id="2" pos="2118" userDrawn="1">
          <p15:clr>
            <a:srgbClr val="A4A3A4"/>
          </p15:clr>
        </p15:guide>
        <p15:guide id="3" orient="horz" pos="3129" userDrawn="1">
          <p15:clr>
            <a:srgbClr val="A4A3A4"/>
          </p15:clr>
        </p15:guide>
        <p15:guide id="4" pos="2143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s" initials="s" lastIdx="7" clrIdx="0"/>
  <p:cmAuthor id="1" name="Admin" initials="A" lastIdx="0" clrIdx="1"/>
  <p:cmAuthor id="2" name="Помилуйко Ирина Сергеевна" initials="ПИС" lastIdx="1" clrIdx="2"/>
  <p:cmAuthor id="3" name="Rosatom" initials="R" lastIdx="1" clrIdx="3"/>
  <p:cmAuthor id="4" name="Титова Елена Сергеевна" initials="ТЕС" lastIdx="1" clrIdx="4"/>
  <p:cmAuthor id="5" name="nata_pravda@outlook.com" initials="n" lastIdx="22" clrIdx="5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E658E"/>
    <a:srgbClr val="3F4E71"/>
    <a:srgbClr val="ECF4FA"/>
    <a:srgbClr val="C9EEFF"/>
    <a:srgbClr val="C9E0FF"/>
    <a:srgbClr val="F0E770"/>
    <a:srgbClr val="008E40"/>
    <a:srgbClr val="A6D86E"/>
    <a:srgbClr val="B9C6FD"/>
    <a:srgbClr val="D7EA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8D230F3-CF80-4859-8CE7-A43EE81993B5}" styleName="Светлый стиль 1 -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85BE263C-DBD7-4A20-BB59-AAB30ACAA65A}" styleName="Средний стиль 3 -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A107856-5554-42FB-B03E-39F5DBC370BA}" styleName="Средний стиль 4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12C8C85-51F0-491E-9774-3900AFEF0FD7}" styleName="Светлый стиль 2 -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0A1B5D5-9B99-4C35-A422-299274C87663}" styleName="Средний стиль 1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DCAF9ED-07DC-4A11-8D7F-57B35C25682E}" styleName="Средний стиль 1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Светлый стиль 2 -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EB344D84-9AFB-497E-A393-DC336BA19D2E}" styleName="Средний стиль 3 - акцент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Средний стиль 4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D083AE6-46FA-4A59-8FB0-9F97EB10719F}" styleName="Светлый стиль 3 -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550" autoAdjust="0"/>
    <p:restoredTop sz="96244" autoAdjust="0"/>
  </p:normalViewPr>
  <p:slideViewPr>
    <p:cSldViewPr>
      <p:cViewPr>
        <p:scale>
          <a:sx n="110" d="100"/>
          <a:sy n="110" d="100"/>
        </p:scale>
        <p:origin x="-1962" y="-240"/>
      </p:cViewPr>
      <p:guideLst>
        <p:guide orient="horz" pos="2704"/>
        <p:guide pos="3107"/>
        <p:guide pos="20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8928"/>
    </p:cViewPr>
  </p:sorterViewPr>
  <p:notesViewPr>
    <p:cSldViewPr>
      <p:cViewPr>
        <p:scale>
          <a:sx n="150" d="100"/>
          <a:sy n="150" d="100"/>
        </p:scale>
        <p:origin x="-978" y="3666"/>
      </p:cViewPr>
      <p:guideLst>
        <p:guide orient="horz" pos="3106"/>
        <p:guide orient="horz" pos="3129"/>
        <p:guide pos="2118"/>
        <p:guide pos="214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3.xml"/><Relationship Id="rId39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34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2.xml"/><Relationship Id="rId33" Type="http://schemas.openxmlformats.org/officeDocument/2006/relationships/notesMaster" Target="notesMasters/notesMaster1.xml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" Target="slides/slide6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.xml"/><Relationship Id="rId32" Type="http://schemas.openxmlformats.org/officeDocument/2006/relationships/slide" Target="slides/slide9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" Target="slides/slide5.xml"/><Relationship Id="rId36" Type="http://schemas.openxmlformats.org/officeDocument/2006/relationships/commentAuthors" Target="commentAuthors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8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4.xml"/><Relationship Id="rId30" Type="http://schemas.openxmlformats.org/officeDocument/2006/relationships/slide" Target="slides/slide7.xml"/><Relationship Id="rId35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AA15FC-8AFC-4645-B3AC-A04400A39B60}" type="datetimeFigureOut">
              <a:rPr lang="ru-RU" smtClean="0"/>
              <a:t>27.07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40F5CE-E2E7-495C-8E46-6C3B8731DB7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4213881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1" y="13"/>
            <a:ext cx="2945659" cy="496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328" tIns="46163" rIns="92328" bIns="46163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ru-RU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73" y="13"/>
            <a:ext cx="2945659" cy="496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328" tIns="46163" rIns="92328" bIns="46163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ru-RU" dirty="0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2950"/>
            <a:ext cx="4965700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169"/>
            <a:ext cx="5438140" cy="4466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328" tIns="46163" rIns="92328" bIns="4616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31" y="9428596"/>
            <a:ext cx="2945659" cy="496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328" tIns="46163" rIns="92328" bIns="46163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ru-RU" dirty="0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73" y="9428596"/>
            <a:ext cx="2945659" cy="496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328" tIns="46163" rIns="92328" bIns="46163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5864FAE4-9723-4169-9CE8-10A7C8F50D35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476906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77813" y="669925"/>
            <a:ext cx="6559550" cy="4921250"/>
          </a:xfrm>
          <a:ln/>
        </p:spPr>
      </p:sp>
      <p:sp>
        <p:nvSpPr>
          <p:cNvPr id="717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01091" y="5783648"/>
            <a:ext cx="5874010" cy="362942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33957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351667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240477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Relationship Id="rId4" Type="http://schemas.openxmlformats.org/officeDocument/2006/relationships/hyperlink" Target="http://www.rosatom.ru/" TargetMode="Externa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slideMaster" Target="../slideMasters/slideMaster18.xml"/><Relationship Id="rId7" Type="http://schemas.openxmlformats.org/officeDocument/2006/relationships/image" Target="../media/image2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3.emf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26.png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9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0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Relationship Id="rId4" Type="http://schemas.openxmlformats.org/officeDocument/2006/relationships/hyperlink" Target="http://www.rosatom.ru/" TargetMode="Externa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Relationship Id="rId4" Type="http://schemas.openxmlformats.org/officeDocument/2006/relationships/hyperlink" Target="http://www.rosatom.ru/" TargetMode="Externa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Relationship Id="rId4" Type="http://schemas.openxmlformats.org/officeDocument/2006/relationships/hyperlink" Target="http://www.rosatom.ru/" TargetMode="Externa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6.xml"/><Relationship Id="rId4" Type="http://schemas.openxmlformats.org/officeDocument/2006/relationships/hyperlink" Target="http://www.rosatom.ru/" TargetMode="Externa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7.xml"/><Relationship Id="rId4" Type="http://schemas.openxmlformats.org/officeDocument/2006/relationships/hyperlink" Target="http://www.rosatom.ru/" TargetMode="Externa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8.xml"/><Relationship Id="rId4" Type="http://schemas.openxmlformats.org/officeDocument/2006/relationships/hyperlink" Target="http://www.rosatom.ru/" TargetMode="Externa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0052237"/>
      </p:ext>
    </p:extLst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51869957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4434042"/>
      </p:ext>
    </p:extLst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4216777"/>
      </p:ext>
    </p:extLst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388536"/>
      </p:ext>
    </p:extLst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2668815"/>
      </p:ext>
    </p:extLst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2493585"/>
      </p:ext>
    </p:extLst>
  </p:cSld>
  <p:clrMapOvr>
    <a:masterClrMapping/>
  </p:clrMapOvr>
  <p:transition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3203227"/>
      </p:ext>
    </p:extLst>
  </p:cSld>
  <p:clrMapOvr>
    <a:masterClrMapping/>
  </p:clrMapOvr>
  <p:transition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0185089"/>
      </p:ext>
    </p:extLst>
  </p:cSld>
  <p:clrMapOvr>
    <a:masterClrMapping/>
  </p:clrMapOvr>
  <p:transition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7526918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760922"/>
      </p:ext>
    </p:extLst>
  </p:cSld>
  <p:clrMapOvr>
    <a:masterClrMapping/>
  </p:clrMapOvr>
  <p:transition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6349295"/>
      </p:ext>
    </p:extLst>
  </p:cSld>
  <p:clrMapOvr>
    <a:masterClrMapping/>
  </p:clrMapOvr>
  <p:transition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pre2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2210" y="0"/>
            <a:ext cx="8581790" cy="766329"/>
          </a:xfrm>
        </p:spPr>
        <p:txBody>
          <a:bodyPr>
            <a:noAutofit/>
          </a:bodyPr>
          <a:lstStyle>
            <a:lvl1pPr>
              <a:defRPr sz="2600">
                <a:solidFill>
                  <a:srgbClr val="215BAE"/>
                </a:solidFill>
              </a:defRPr>
            </a:lvl1pPr>
          </a:lstStyle>
          <a:p>
            <a:r>
              <a:rPr lang="ru-RU" dirty="0"/>
              <a:t>Заголовок слайда</a:t>
            </a:r>
            <a:endParaRPr lang="en-US" dirty="0"/>
          </a:p>
        </p:txBody>
      </p:sp>
      <p:cxnSp>
        <p:nvCxnSpPr>
          <p:cNvPr id="5" name="Прямая соединительная линия 4"/>
          <p:cNvCxnSpPr/>
          <p:nvPr userDrawn="1"/>
        </p:nvCxnSpPr>
        <p:spPr>
          <a:xfrm>
            <a:off x="562210" y="1015853"/>
            <a:ext cx="8063964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Изображение 12" descr="REA_logo_version3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210" y="6214281"/>
            <a:ext cx="2158814" cy="379416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8520111" y="6347475"/>
            <a:ext cx="623889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EF29B0EE-84A7-4D26-B86D-316840AB9A86}" type="slidenum">
              <a:rPr lang="en-US" sz="2600" b="1" i="0" smtClean="0">
                <a:solidFill>
                  <a:schemeClr val="bg1"/>
                </a:solidFill>
              </a:rPr>
              <a:pPr algn="r"/>
              <a:t>‹#›</a:t>
            </a:fld>
            <a:endParaRPr lang="ru-RU" sz="2600" b="1" i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867906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>
            <a:hlinkClick r:id="" action="ppaction://noaction"/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4014" y="511175"/>
            <a:ext cx="1392237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navigation1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5580064" y="1076327"/>
            <a:ext cx="360362" cy="360363"/>
          </a:xfrm>
          <a:prstGeom prst="ellipse">
            <a:avLst/>
          </a:prstGeom>
          <a:solidFill>
            <a:schemeClr val="bg1"/>
          </a:solidFill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003274"/>
                </a:solidFill>
              </a:rPr>
              <a:t>1</a:t>
            </a:r>
          </a:p>
        </p:txBody>
      </p:sp>
      <p:sp>
        <p:nvSpPr>
          <p:cNvPr id="6" name="navigation2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5892801" y="1076327"/>
            <a:ext cx="360363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7" name="navigation3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205538" y="1076327"/>
            <a:ext cx="360362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8" name="navigation4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518275" y="1076327"/>
            <a:ext cx="360363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9" name="navigation5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831013" y="1076327"/>
            <a:ext cx="360362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10" name="navigation6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143750" y="1076327"/>
            <a:ext cx="360363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FFFFFF"/>
                </a:solidFill>
              </a:rPr>
              <a:t>6</a:t>
            </a:r>
          </a:p>
        </p:txBody>
      </p:sp>
      <p:sp>
        <p:nvSpPr>
          <p:cNvPr id="11" name="navigation7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456489" y="1076327"/>
            <a:ext cx="360362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FFFFFF"/>
                </a:solidFill>
              </a:rPr>
              <a:t>7</a:t>
            </a:r>
          </a:p>
        </p:txBody>
      </p:sp>
      <p:sp>
        <p:nvSpPr>
          <p:cNvPr id="12" name="Oval 13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769226" y="1076327"/>
            <a:ext cx="360363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sz="2400" b="1" dirty="0">
                <a:solidFill>
                  <a:srgbClr val="FFFFFF"/>
                </a:solidFill>
              </a:rPr>
              <a:t>8</a:t>
            </a:r>
            <a:endParaRPr lang="ru-RU" sz="2400" b="1" dirty="0">
              <a:solidFill>
                <a:srgbClr val="FFFFFF"/>
              </a:solidFill>
            </a:endParaRPr>
          </a:p>
        </p:txBody>
      </p:sp>
      <p:sp>
        <p:nvSpPr>
          <p:cNvPr id="1044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9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044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89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9226439"/>
      </p:ext>
    </p:extLst>
  </p:cSld>
  <p:clrMapOvr>
    <a:masterClrMapping/>
  </p:clrMapOvr>
  <p:transition>
    <p:split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DFEEFEA-3023-4A04-9A9E-BB536AF37F5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7711789"/>
      </p:ext>
    </p:extLst>
  </p:cSld>
  <p:clrMapOvr>
    <a:masterClrMapping/>
  </p:clrMapOvr>
  <p:transition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4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4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76BA4F-BF08-4CD5-B53C-93FFC9B839B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4145819"/>
      </p:ext>
    </p:extLst>
  </p:cSld>
  <p:clrMapOvr>
    <a:masterClrMapping/>
  </p:clrMapOvr>
  <p:transition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4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1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D30ED2-61C5-4ADC-8D39-35ED3582806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1188859"/>
      </p:ext>
    </p:extLst>
  </p:cSld>
  <p:clrMapOvr>
    <a:masterClrMapping/>
  </p:clrMapOvr>
  <p:transition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C268A0-F684-40D5-BD6F-FF7EAAF040B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7593970"/>
      </p:ext>
    </p:extLst>
  </p:cSld>
  <p:clrMapOvr>
    <a:masterClrMapping/>
  </p:clrMapOvr>
  <p:transition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EE279B-3F16-4C21-AA23-33FDFFDD36E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095984"/>
      </p:ext>
    </p:extLst>
  </p:cSld>
  <p:clrMapOvr>
    <a:masterClrMapping/>
  </p:clrMapOvr>
  <p:transition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C74764-A741-4C0F-8158-E9CA3E69BE7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5472726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pic>
        <p:nvPicPr>
          <p:cNvPr id="10244" name="navigation8" descr="ujkm,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</p:spPr>
      </p:pic>
      <p:sp>
        <p:nvSpPr>
          <p:cNvPr id="1024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1400" b="1" dirty="0">
                <a:solidFill>
                  <a:schemeClr val="hlink"/>
                </a:solidFill>
                <a:cs typeface="Arial" charset="0"/>
              </a:rPr>
              <a:t>www.rosatom.ru</a:t>
            </a:r>
            <a:endParaRPr lang="ru-RU" sz="1400" b="1" dirty="0">
              <a:solidFill>
                <a:schemeClr val="hlink"/>
              </a:solidFill>
              <a:cs typeface="Arial" charset="0"/>
            </a:endParaRPr>
          </a:p>
        </p:txBody>
      </p:sp>
    </p:spTree>
  </p:cSld>
  <p:clrMapOvr>
    <a:masterClrMapping/>
  </p:clrMapOvr>
  <p:transition>
    <p:split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A279B9-6729-4975-BE12-1D7C3889B60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0504562"/>
      </p:ext>
    </p:extLst>
  </p:cSld>
  <p:clrMapOvr>
    <a:masterClrMapping/>
  </p:clrMapOvr>
  <p:transition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8FB96F-CAA8-43DA-AC43-15BABE0449FC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9223905"/>
      </p:ext>
    </p:extLst>
  </p:cSld>
  <p:clrMapOvr>
    <a:masterClrMapping/>
  </p:clrMapOvr>
  <p:transition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42D9A9C-59E1-44CA-8EE2-83150B43275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8437856"/>
      </p:ext>
    </p:extLst>
  </p:cSld>
  <p:clrMapOvr>
    <a:masterClrMapping/>
  </p:clrMapOvr>
  <p:transition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1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5F14F1-174B-4649-B092-E517EFD3901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8765762"/>
      </p:ext>
    </p:extLst>
  </p:cSld>
  <p:clrMapOvr>
    <a:masterClrMapping/>
  </p:clrMapOvr>
  <p:transition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809115488"/>
      </p:ext>
    </p:extLst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B78713-A8BC-4BC4-8D16-93D88FF99F1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9904454"/>
      </p:ext>
    </p:extLst>
  </p:cSld>
  <p:clrMapOvr>
    <a:masterClrMapping/>
  </p:clrMapOvr>
  <p:transition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8780A3-EA2A-4787-B6BB-021FD5656B5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38595138"/>
      </p:ext>
    </p:extLst>
  </p:cSld>
  <p:clrMapOvr>
    <a:masterClrMapping/>
  </p:clrMapOvr>
  <p:transition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0D3EAC-2776-4EBF-8D73-1082020FEEF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98185966"/>
      </p:ext>
    </p:extLst>
  </p:cSld>
  <p:clrMapOvr>
    <a:masterClrMapping/>
  </p:clrMapOvr>
  <p:transition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DE46FD-6426-4160-9710-0682E0228C0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81189478"/>
      </p:ext>
    </p:extLst>
  </p:cSld>
  <p:clrMapOvr>
    <a:masterClrMapping/>
  </p:clrMapOvr>
  <p:transition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383196-824B-4052-B4CD-6509546A76A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12271393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124F1F2-6FF9-4637-BF9E-F181EF68C2A6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CF9EF9-DFBF-42D2-8CE4-4D89E521240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08328469"/>
      </p:ext>
    </p:extLst>
  </p:cSld>
  <p:clrMapOvr>
    <a:masterClrMapping/>
  </p:clrMapOvr>
  <p:transition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FF8B03-3AF7-4DE3-87B7-2C0810F1FA3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14810964"/>
      </p:ext>
    </p:extLst>
  </p:cSld>
  <p:clrMapOvr>
    <a:masterClrMapping/>
  </p:clrMapOvr>
  <p:transition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4650C4A-AAA6-448A-A3B8-50BC985E196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56118309"/>
      </p:ext>
    </p:extLst>
  </p:cSld>
  <p:clrMapOvr>
    <a:masterClrMapping/>
  </p:clrMapOvr>
  <p:transition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8DC42F-8B76-4B06-A823-66F4217DAF8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2607770"/>
      </p:ext>
    </p:extLst>
  </p:cSld>
  <p:clrMapOvr>
    <a:masterClrMapping/>
  </p:clrMapOvr>
  <p:transition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C28B3B-6912-4747-9303-5C4C7F25200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90965524"/>
      </p:ext>
    </p:extLst>
  </p:cSld>
  <p:clrMapOvr>
    <a:masterClrMapping/>
  </p:clrMapOvr>
  <p:transition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68313" y="0"/>
            <a:ext cx="8424862" cy="62738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C12177-07D0-481F-80E3-F9E047B0CB4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62057418"/>
      </p:ext>
    </p:extLst>
  </p:cSld>
  <p:clrMapOvr>
    <a:masterClrMapping/>
  </p:clrMapOvr>
  <p:transition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33940B7-5DEE-4D02-A449-13397502A782}" type="datetime1">
              <a:rPr lang="ru-RU" smtClean="0"/>
              <a:t>27.07.2022</a:t>
            </a:fld>
            <a:endParaRPr lang="ru-RU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B99CB5-857C-43CE-A641-FDF44BE69B2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49504842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05661445"/>
      </p:ext>
    </p:extLst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4775875"/>
      </p:ext>
    </p:extLst>
  </p:cSld>
  <p:clrMapOvr>
    <a:masterClrMapping/>
  </p:clrMapOvr>
  <p:transition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9850938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2F0219C-A8B3-4DA9-8692-DFDF24EE917B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1887921"/>
      </p:ext>
    </p:extLst>
  </p:cSld>
  <p:clrMapOvr>
    <a:masterClrMapping/>
  </p:clrMapOvr>
  <p:transition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6683133"/>
      </p:ext>
    </p:extLst>
  </p:cSld>
  <p:clrMapOvr>
    <a:masterClrMapping/>
  </p:clrMapOvr>
  <p:transition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7553965"/>
      </p:ext>
    </p:extLst>
  </p:cSld>
  <p:clrMapOvr>
    <a:masterClrMapping/>
  </p:clrMapOvr>
  <p:transition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1889285"/>
      </p:ext>
    </p:extLst>
  </p:cSld>
  <p:clrMapOvr>
    <a:masterClrMapping/>
  </p:clrMapOvr>
  <p:transition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8689647"/>
      </p:ext>
    </p:extLst>
  </p:cSld>
  <p:clrMapOvr>
    <a:masterClrMapping/>
  </p:clrMapOvr>
  <p:transition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326910"/>
      </p:ext>
    </p:extLst>
  </p:cSld>
  <p:clrMapOvr>
    <a:masterClrMapping/>
  </p:clrMapOvr>
  <p:transition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4826249"/>
      </p:ext>
    </p:extLst>
  </p:cSld>
  <p:clrMapOvr>
    <a:masterClrMapping/>
  </p:clrMapOvr>
  <p:transition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7919655"/>
      </p:ext>
    </p:extLst>
  </p:cSld>
  <p:clrMapOvr>
    <a:masterClrMapping/>
  </p:clrMapOvr>
  <p:transition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 hidden="1"/>
          <p:cNvSpPr>
            <a:spLocks/>
          </p:cNvSpPr>
          <p:nvPr userDrawn="1"/>
        </p:nvSpPr>
        <p:spPr bwMode="auto">
          <a:xfrm>
            <a:off x="8688388" y="6826250"/>
            <a:ext cx="174625" cy="13335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en-US" altLang="ru-RU" sz="900" dirty="0">
                <a:solidFill>
                  <a:srgbClr val="414142"/>
                </a:solidFill>
              </a:rPr>
              <a:t>‹#›</a:t>
            </a:r>
          </a:p>
          <a:p>
            <a:pPr algn="r" eaLnBrk="1" hangingPunct="1">
              <a:defRPr/>
            </a:pPr>
            <a:endParaRPr lang="en-US" altLang="ru-RU" sz="900" dirty="0">
              <a:solidFill>
                <a:srgbClr val="414142"/>
              </a:solidFill>
            </a:endParaRPr>
          </a:p>
        </p:txBody>
      </p:sp>
      <p:pic>
        <p:nvPicPr>
          <p:cNvPr id="5" name="Picture 47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9388" y="115888"/>
            <a:ext cx="925512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508400"/>
            <a:ext cx="8301046" cy="459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211284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2426"/>
            <a:ext cx="681728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5" y="6448427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53205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4964636-4CF8-43F1-A901-D975EC239D09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055138740"/>
      </p:ext>
    </p:extLst>
  </p:cSld>
  <p:clrMapOvr>
    <a:masterClrMapping/>
  </p:clrMapOvr>
  <p:transition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FBB240-A293-489C-995D-4C8BC8CFA49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7006120"/>
      </p:ext>
    </p:extLst>
  </p:cSld>
  <p:clrMapOvr>
    <a:masterClrMapping/>
  </p:clrMapOvr>
  <p:transition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CD7A26-20E6-40D4-8107-CB599C6493F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95332511"/>
      </p:ext>
    </p:extLst>
  </p:cSld>
  <p:clrMapOvr>
    <a:masterClrMapping/>
  </p:clrMapOvr>
  <p:transition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CF0234-0A6C-4053-B845-D06B3CFD247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00635007"/>
      </p:ext>
    </p:extLst>
  </p:cSld>
  <p:clrMapOvr>
    <a:masterClrMapping/>
  </p:clrMapOvr>
  <p:transition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CA5CE0-5BD0-48B8-BD36-EB78D4FDE81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79861885"/>
      </p:ext>
    </p:extLst>
  </p:cSld>
  <p:clrMapOvr>
    <a:masterClrMapping/>
  </p:clrMapOvr>
  <p:transition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D4E282-A076-4470-AE77-4B85D4BF114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62399874"/>
      </p:ext>
    </p:extLst>
  </p:cSld>
  <p:clrMapOvr>
    <a:masterClrMapping/>
  </p:clrMapOvr>
  <p:transition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8D7C9B-30AA-4CA1-A55A-299A97B3113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29898402"/>
      </p:ext>
    </p:extLst>
  </p:cSld>
  <p:clrMapOvr>
    <a:masterClrMapping/>
  </p:clrMapOvr>
  <p:transition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CCF09E-86E2-40ED-B872-16E61CC51DA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7617628"/>
      </p:ext>
    </p:extLst>
  </p:cSld>
  <p:clrMapOvr>
    <a:masterClrMapping/>
  </p:clrMapOvr>
  <p:transition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FEB83F-2AE9-4488-B631-E67874D202A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3373995"/>
      </p:ext>
    </p:extLst>
  </p:cSld>
  <p:clrMapOvr>
    <a:masterClrMapping/>
  </p:clrMapOvr>
  <p:transition/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5CD1E0-223F-4042-B068-7B680642583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74638963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AA4C038-C9BD-4E00-90EE-24CECB55C792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9A6143-EC3F-4ED4-AA3F-673D5B8E033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9213831"/>
      </p:ext>
    </p:extLst>
  </p:cSld>
  <p:clrMapOvr>
    <a:masterClrMapping/>
  </p:clrMapOvr>
  <p:transition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965476857"/>
      </p:ext>
    </p:extLst>
  </p:cSld>
  <p:clrMapOvr>
    <a:masterClrMapping/>
  </p:clrMapOvr>
  <p:transition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437E39-479F-4551-8FB3-44231663ACF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9775471"/>
      </p:ext>
    </p:extLst>
  </p:cSld>
  <p:clrMapOvr>
    <a:masterClrMapping/>
  </p:clrMapOvr>
  <p:transition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EAC4BD-9E4D-4D69-AD27-F607B10D5EA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0485459"/>
      </p:ext>
    </p:extLst>
  </p:cSld>
  <p:clrMapOvr>
    <a:masterClrMapping/>
  </p:clrMapOvr>
  <p:transition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408278-1A58-4A51-9ABE-F8CAE813B97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9451938"/>
      </p:ext>
    </p:extLst>
  </p:cSld>
  <p:clrMapOvr>
    <a:masterClrMapping/>
  </p:clrMapOvr>
  <p:transition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94465D-5B49-4AF0-A007-57F78C73162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0010573"/>
      </p:ext>
    </p:extLst>
  </p:cSld>
  <p:clrMapOvr>
    <a:masterClrMapping/>
  </p:clrMapOvr>
  <p:transition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2DF2E9-28A8-472C-95C1-BCDC61688F0C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3538110"/>
      </p:ext>
    </p:extLst>
  </p:cSld>
  <p:clrMapOvr>
    <a:masterClrMapping/>
  </p:clrMapOvr>
  <p:transition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6AE515-AB3E-46A4-9773-B9EA8789F80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6923998"/>
      </p:ext>
    </p:extLst>
  </p:cSld>
  <p:clrMapOvr>
    <a:masterClrMapping/>
  </p:clrMapOvr>
  <p:transition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172910-4814-4A29-8D96-040027BE2058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3707870"/>
      </p:ext>
    </p:extLst>
  </p:cSld>
  <p:clrMapOvr>
    <a:masterClrMapping/>
  </p:clrMapOvr>
  <p:transition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3BBE5EF-8335-4AB4-9213-31C370382D5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3986159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279759B-BB9C-4C68-8523-3D0AFC6AC4AA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128788-CA80-4A4C-B84B-BE01383D30E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6453555"/>
      </p:ext>
    </p:extLst>
  </p:cSld>
  <p:clrMapOvr>
    <a:masterClrMapping/>
  </p:clrMapOvr>
  <p:transition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D17BE7-08E5-443D-A9F9-E6F23C6B029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8388230"/>
      </p:ext>
    </p:extLst>
  </p:cSld>
  <p:clrMapOvr>
    <a:masterClrMapping/>
  </p:clrMapOvr>
  <p:transition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68313" y="0"/>
            <a:ext cx="8424862" cy="62738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DCB95EE-C39F-4371-90A3-ED2311CBA5B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8901687"/>
      </p:ext>
    </p:extLst>
  </p:cSld>
  <p:clrMapOvr>
    <a:masterClrMapping/>
  </p:clrMapOvr>
  <p:transition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77" y="293691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79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802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pic>
        <p:nvPicPr>
          <p:cNvPr id="5" name="navigation8" descr="ujkm,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49018792"/>
      </p:ext>
    </p:extLst>
  </p:cSld>
  <p:clrMapOvr>
    <a:masterClrMapping/>
  </p:clrMapOvr>
  <p:transition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63768780"/>
      </p:ext>
    </p:extLst>
  </p:cSld>
  <p:clrMapOvr>
    <a:masterClrMapping/>
  </p:clrMapOvr>
  <p:transition/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5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67556136"/>
      </p:ext>
    </p:extLst>
  </p:cSld>
  <p:clrMapOvr>
    <a:masterClrMapping/>
  </p:clrMapOvr>
  <p:transition/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0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77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49058327"/>
      </p:ext>
    </p:extLst>
  </p:cSld>
  <p:clrMapOvr>
    <a:masterClrMapping/>
  </p:clrMapOvr>
  <p:transition/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19646335"/>
      </p:ext>
    </p:extLst>
  </p:cSld>
  <p:clrMapOvr>
    <a:masterClrMapping/>
  </p:clrMapOvr>
  <p:transition/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90594241"/>
      </p:ext>
    </p:extLst>
  </p:cSld>
  <p:clrMapOvr>
    <a:masterClrMapping/>
  </p:clrMapOvr>
  <p:transition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20276271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59F6B0-C365-44D4-87F2-F6FB45A58E49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7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01753048"/>
      </p:ext>
    </p:extLst>
  </p:cSld>
  <p:clrMapOvr>
    <a:masterClrMapping/>
  </p:clrMapOvr>
  <p:transition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4373734"/>
      </p:ext>
    </p:extLst>
  </p:cSld>
  <p:clrMapOvr>
    <a:masterClrMapping/>
  </p:clrMapOvr>
  <p:transition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17795220"/>
      </p:ext>
    </p:extLst>
  </p:cSld>
  <p:clrMapOvr>
    <a:masterClrMapping/>
  </p:clrMapOvr>
  <p:transition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27224603"/>
      </p:ext>
    </p:extLst>
  </p:cSld>
  <p:clrMapOvr>
    <a:masterClrMapping/>
  </p:clrMapOvr>
  <p:transition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69" y="293691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99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93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pic>
        <p:nvPicPr>
          <p:cNvPr id="5" name="navigation8" descr="ujkm,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69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navigation8" descr="ujkm,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80727435"/>
      </p:ext>
    </p:extLst>
  </p:cSld>
  <p:clrMapOvr>
    <a:masterClrMapping/>
  </p:clrMapOvr>
  <p:transition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55866296"/>
      </p:ext>
    </p:extLst>
  </p:cSld>
  <p:clrMapOvr>
    <a:masterClrMapping/>
  </p:clrMapOvr>
  <p:transition/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7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0963542"/>
      </p:ext>
    </p:extLst>
  </p:cSld>
  <p:clrMapOvr>
    <a:masterClrMapping/>
  </p:clrMapOvr>
  <p:transition/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9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87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00504997"/>
      </p:ext>
    </p:extLst>
  </p:cSld>
  <p:clrMapOvr>
    <a:masterClrMapping/>
  </p:clrMapOvr>
  <p:transition/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0509059"/>
      </p:ext>
    </p:extLst>
  </p:cSld>
  <p:clrMapOvr>
    <a:masterClrMapping/>
  </p:clrMapOvr>
  <p:transition/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70559212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D91610A-83CF-4227-8B03-ADAD4D94780A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80330331"/>
      </p:ext>
    </p:extLst>
  </p:cSld>
  <p:clrMapOvr>
    <a:masterClrMapping/>
  </p:clrMapOvr>
  <p:transition/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6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0143740"/>
      </p:ext>
    </p:extLst>
  </p:cSld>
  <p:clrMapOvr>
    <a:masterClrMapping/>
  </p:clrMapOvr>
  <p:transition/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21569054"/>
      </p:ext>
    </p:extLst>
  </p:cSld>
  <p:clrMapOvr>
    <a:masterClrMapping/>
  </p:clrMapOvr>
  <p:transition/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71285016"/>
      </p:ext>
    </p:extLst>
  </p:cSld>
  <p:clrMapOvr>
    <a:masterClrMapping/>
  </p:clrMapOvr>
  <p:transition/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83568249"/>
      </p:ext>
    </p:extLst>
  </p:cSld>
  <p:clrMapOvr>
    <a:masterClrMapping/>
  </p:clrMapOvr>
  <p:transition/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8811435"/>
              </p:ext>
            </p:extLst>
          </p:nvPr>
        </p:nvGraphicFramePr>
        <p:xfrm>
          <a:off x="1624" y="1624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4" y="1624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5" y="349865"/>
            <a:ext cx="1014109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206" eaLnBrk="1" hangingPunct="1">
              <a:defRPr/>
            </a:pPr>
            <a:r>
              <a:rPr lang="ru-RU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206" eaLnBrk="1" hangingPunct="1"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795" y="508604"/>
            <a:ext cx="3264776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206"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799" y="668959"/>
            <a:ext cx="2872217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206"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50721" y="5030931"/>
            <a:ext cx="5036085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206"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50721" y="5304665"/>
            <a:ext cx="5036085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206"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4" y="4"/>
            <a:ext cx="914076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66" tIns="46633" rIns="93266" bIns="46633" anchor="ctr"/>
          <a:lstStyle/>
          <a:p>
            <a:pPr defTabSz="914206"/>
            <a:endParaRPr lang="ru-RU" sz="160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63" y="6574549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50718" y="2919391"/>
            <a:ext cx="5036084" cy="1015663"/>
          </a:xfrm>
          <a:prstGeom prst="rect">
            <a:avLst/>
          </a:prstGeo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50718" y="3945699"/>
            <a:ext cx="5036084" cy="219820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93136" y="4617893"/>
            <a:ext cx="5850864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59" y="194373"/>
            <a:ext cx="912780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50722" y="2119331"/>
            <a:ext cx="1255377" cy="901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80160004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7153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>
          <a:xfrm>
            <a:off x="8568903" y="6434905"/>
            <a:ext cx="541731" cy="439639"/>
          </a:xfrm>
          <a:prstGeom prst="rect">
            <a:avLst/>
          </a:prstGeom>
        </p:spPr>
        <p:txBody>
          <a:bodyPr wrap="none" lIns="93276" tIns="46638" rIns="93276" bIns="46638">
            <a:spAutoFit/>
          </a:bodyPr>
          <a:lstStyle/>
          <a:p>
            <a:pPr defTabSz="914206"/>
            <a:fld id="{3F385F46-FE36-43E0-8AEF-AC9950742405}" type="slidenum">
              <a:rPr lang="ru-RU" sz="2200" smtClean="0">
                <a:solidFill>
                  <a:srgbClr val="003274"/>
                </a:solidFill>
                <a:latin typeface="Arial"/>
              </a:rPr>
              <a:pPr defTabSz="914206"/>
              <a:t>‹#›</a:t>
            </a:fld>
            <a:endParaRPr lang="ru-RU" sz="22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39311166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05661445"/>
      </p:ext>
    </p:extLst>
  </p:cSld>
  <p:clrMapOvr>
    <a:masterClrMapping/>
  </p:clrMapOvr>
  <p:transition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4775875"/>
      </p:ext>
    </p:extLst>
  </p:cSld>
  <p:clrMapOvr>
    <a:masterClrMapping/>
  </p:clrMapOvr>
  <p:transition/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9850938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C12AFCB-AB72-4856-A2F2-B569ED688A02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1887921"/>
      </p:ext>
    </p:extLst>
  </p:cSld>
  <p:clrMapOvr>
    <a:masterClrMapping/>
  </p:clrMapOvr>
  <p:transition/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6683133"/>
      </p:ext>
    </p:extLst>
  </p:cSld>
  <p:clrMapOvr>
    <a:masterClrMapping/>
  </p:clrMapOvr>
  <p:transition/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7553965"/>
      </p:ext>
    </p:extLst>
  </p:cSld>
  <p:clrMapOvr>
    <a:masterClrMapping/>
  </p:clrMapOvr>
  <p:transition/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1889285"/>
      </p:ext>
    </p:extLst>
  </p:cSld>
  <p:clrMapOvr>
    <a:masterClrMapping/>
  </p:clrMapOvr>
  <p:transition/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8689647"/>
      </p:ext>
    </p:extLst>
  </p:cSld>
  <p:clrMapOvr>
    <a:masterClrMapping/>
  </p:clrMapOvr>
  <p:transition/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326910"/>
      </p:ext>
    </p:extLst>
  </p:cSld>
  <p:clrMapOvr>
    <a:masterClrMapping/>
  </p:clrMapOvr>
  <p:transition/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4826249"/>
      </p:ext>
    </p:extLst>
  </p:cSld>
  <p:clrMapOvr>
    <a:masterClrMapping/>
  </p:clrMapOvr>
  <p:transition/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7919655"/>
      </p:ext>
    </p:extLst>
  </p:cSld>
  <p:clrMapOvr>
    <a:masterClrMapping/>
  </p:clrMapOvr>
  <p:transition/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2426"/>
            <a:ext cx="681728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5" y="6448427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5320546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8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D8BE50-343F-42B7-A502-A9123997C250}" type="datetime1">
              <a:rPr lang="ru-RU" smtClean="0"/>
              <a:t>27.07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0772703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F5AD4FB-195D-4824-9DCA-C935451C97A2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847645-8DEB-40C0-BE2D-C1EEA8B6D623}" type="datetime1">
              <a:rPr lang="ru-RU" smtClean="0"/>
              <a:t>27.07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13238522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2AFE2E-4D56-48CA-8127-08810F9EA3A1}" type="datetime1">
              <a:rPr lang="ru-RU" smtClean="0"/>
              <a:t>27.07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62647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DBCEDB-2BDB-430B-8F5F-AFF607D34C0B}" type="datetime1">
              <a:rPr lang="ru-RU" smtClean="0"/>
              <a:t>27.07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37995702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B2DEE3-F67F-4D3A-8AE6-C51A088E4638}" type="datetime1">
              <a:rPr lang="ru-RU" smtClean="0"/>
              <a:t>27.07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085418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97D96-91D5-4AA0-9DF7-09A1D70D14DC}" type="datetime1">
              <a:rPr lang="ru-RU" smtClean="0"/>
              <a:t>27.07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6909661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8114B0-3ED9-49D7-9BEB-B93EBE56CAC2}" type="datetime1">
              <a:rPr lang="ru-RU" smtClean="0"/>
              <a:t>27.07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06799049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A49CFD-5FD7-41C9-9B55-911E94773662}" type="datetime1">
              <a:rPr lang="ru-RU" smtClean="0"/>
              <a:t>27.07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1729994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B91980-2C29-4992-839C-95395F5C3620}" type="datetime1">
              <a:rPr lang="ru-RU" smtClean="0"/>
              <a:t>27.07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80578672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84E5C1-4811-468B-BF19-8EF4D7941C4B}" type="datetime1">
              <a:rPr lang="ru-RU" smtClean="0"/>
              <a:t>27.07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382630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2B4EDD-DD2C-4AC3-AA32-8868F7C183B4}" type="datetime1">
              <a:rPr lang="ru-RU" smtClean="0"/>
              <a:t>27.07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47717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FB1AA17-3238-46F2-B51F-12E5145C30E0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2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7150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06497898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Title and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4" name="Picture 47"/>
          <p:cNvPicPr>
            <a:picLocks noChangeAspect="1" noChangeArrowheads="1"/>
          </p:cNvPicPr>
          <p:nvPr userDrawn="1"/>
        </p:nvPicPr>
        <p:blipFill>
          <a:blip r:embed="rId2" cstate="print"/>
          <a:stretch/>
        </p:blipFill>
        <p:spPr bwMode="auto">
          <a:xfrm>
            <a:off x="179388" y="115888"/>
            <a:ext cx="925512" cy="720724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/>
          </p:nvPr>
        </p:nvSpPr>
        <p:spPr bwMode="auto">
          <a:xfrm>
            <a:off x="422031" y="1508400"/>
            <a:ext cx="8301046" cy="4590000"/>
          </a:xfrm>
        </p:spPr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804304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286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pic>
        <p:nvPicPr>
          <p:cNvPr id="28676" name="navigation8" descr="ujkm,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</p:spPr>
      </p:pic>
      <p:sp>
        <p:nvSpPr>
          <p:cNvPr id="28677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1400" b="1" dirty="0">
                <a:solidFill>
                  <a:schemeClr val="hlink"/>
                </a:solidFill>
                <a:cs typeface="Arial" charset="0"/>
              </a:rPr>
              <a:t>www.rosatom.ru</a:t>
            </a:r>
            <a:endParaRPr lang="ru-RU" sz="1400" b="1" dirty="0">
              <a:solidFill>
                <a:schemeClr val="hlink"/>
              </a:solidFill>
              <a:cs typeface="Arial" charset="0"/>
            </a:endParaRPr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5619757" y="1198773"/>
            <a:ext cx="1879610" cy="365126"/>
            <a:chOff x="5580063" y="1076325"/>
            <a:chExt cx="1879610" cy="365126"/>
          </a:xfrm>
        </p:grpSpPr>
        <p:sp>
          <p:nvSpPr>
            <p:cNvPr id="10" name="navigation1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580063" y="1076325"/>
              <a:ext cx="360362" cy="360363"/>
            </a:xfrm>
            <a:prstGeom prst="ellipse">
              <a:avLst/>
            </a:prstGeom>
            <a:noFill/>
            <a:ln w="28575" algn="ctr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1" name="navigation2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892800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12" name="navigation3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7099311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/>
                  </a:solidFill>
                </a:rPr>
                <a:t>6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518275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4</a:t>
              </a:r>
            </a:p>
          </p:txBody>
        </p:sp>
        <p:sp>
          <p:nvSpPr>
            <p:cNvPr id="14" name="navigation5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811963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5</a:t>
              </a:r>
            </a:p>
          </p:txBody>
        </p:sp>
        <p:sp>
          <p:nvSpPr>
            <p:cNvPr id="15" name="navigation6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199192" y="1081088"/>
              <a:ext cx="360363" cy="360363"/>
            </a:xfrm>
            <a:prstGeom prst="ellipse">
              <a:avLst/>
            </a:prstGeom>
            <a:solidFill>
              <a:schemeClr val="bg1"/>
            </a:solidFill>
            <a:ln w="28575" algn="ctr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hlink"/>
                  </a:solidFill>
                </a:rPr>
                <a:t>3</a:t>
              </a:r>
              <a:endParaRPr lang="ru-RU" sz="2400" b="1" dirty="0">
                <a:solidFill>
                  <a:schemeClr val="hlink"/>
                </a:solidFill>
              </a:endParaRPr>
            </a:p>
          </p:txBody>
        </p:sp>
      </p:grpSp>
    </p:spTree>
  </p:cSld>
  <p:clrMapOvr>
    <a:masterClrMapping/>
  </p:clrMapOvr>
  <p:transition>
    <p:split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F29FA2-1520-478E-AF9E-BAA4CD04FBE3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A2FB20B-F89F-41E4-94A9-71917891D25A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E377D9F-5A26-4CB6-82A0-7D2E6011D530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6D090AC-9A7A-4070-BA8A-812C43F115AB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B73E87F-6FBA-4E4E-885D-8A3712AB59F6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DD8CCC4-086C-43A9-A3FC-51A043EEADB7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7AAFD0C-7A7F-4BED-9477-BB2868116BD4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5B3385A-D17A-44E8-9D2C-152CA88682A5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211A97E-C877-400F-9B79-73DCB6E256AF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B9C9F55-5523-4322-9DEE-23C689F6064A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27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pic>
        <p:nvPicPr>
          <p:cNvPr id="32772" name="navigation8" descr="ujkm,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</p:spPr>
      </p:pic>
      <p:sp>
        <p:nvSpPr>
          <p:cNvPr id="32773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1400" b="1" dirty="0">
                <a:solidFill>
                  <a:schemeClr val="hlink"/>
                </a:solidFill>
                <a:cs typeface="Arial" charset="0"/>
              </a:rPr>
              <a:t>www.rosatom.ru</a:t>
            </a:r>
            <a:endParaRPr lang="ru-RU" sz="1400" b="1" dirty="0">
              <a:solidFill>
                <a:schemeClr val="hlink"/>
              </a:solidFill>
              <a:cs typeface="Arial" charset="0"/>
            </a:endParaRPr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5634045" y="1190609"/>
            <a:ext cx="1879611" cy="374653"/>
            <a:chOff x="5570538" y="1071558"/>
            <a:chExt cx="1879611" cy="374653"/>
          </a:xfrm>
        </p:grpSpPr>
        <p:sp>
          <p:nvSpPr>
            <p:cNvPr id="10" name="navigation1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7089787" y="1071558"/>
              <a:ext cx="360362" cy="360363"/>
            </a:xfrm>
            <a:prstGeom prst="ellipse">
              <a:avLst/>
            </a:prstGeom>
            <a:noFill/>
            <a:ln w="28575" algn="ctr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/>
                  </a:solidFill>
                </a:rPr>
                <a:t>6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navigation2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892800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12" name="navigation3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205538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13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518275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4</a:t>
              </a:r>
            </a:p>
          </p:txBody>
        </p:sp>
        <p:sp>
          <p:nvSpPr>
            <p:cNvPr id="14" name="navigation5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831013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5</a:t>
              </a:r>
            </a:p>
          </p:txBody>
        </p:sp>
        <p:sp>
          <p:nvSpPr>
            <p:cNvPr id="15" name="navigation6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570538" y="1085848"/>
              <a:ext cx="360363" cy="360363"/>
            </a:xfrm>
            <a:prstGeom prst="ellipse">
              <a:avLst/>
            </a:prstGeom>
            <a:solidFill>
              <a:schemeClr val="bg1"/>
            </a:solidFill>
            <a:ln w="28575" algn="ctr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hlink"/>
                  </a:solidFill>
                </a:rPr>
                <a:t>1</a:t>
              </a:r>
              <a:endParaRPr lang="ru-RU" sz="2400" b="1" dirty="0">
                <a:solidFill>
                  <a:schemeClr val="hlink"/>
                </a:solidFill>
              </a:endParaRPr>
            </a:p>
          </p:txBody>
        </p:sp>
      </p:grpSp>
    </p:spTree>
  </p:cSld>
  <p:clrMapOvr>
    <a:masterClrMapping/>
  </p:clrMapOvr>
  <p:transition>
    <p:split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90D76F4-01B1-4081-BCB5-5C391BDE07A6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52460FC-B8E0-4CB2-80E4-0F03432EDCBC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73A6EC6-6644-4893-BA07-0E120D2DFC77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A1E9790-7F1B-4B30-9094-B58ED56AD31E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D9CAC4D-9498-46D3-AC8C-DE5239890B14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9652F28-FB14-45E9-9047-5B101D03FCCD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CFF18B0-9C34-49D7-963F-212DA0F92C64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B5E9FB2-C7A7-466D-A7C2-BD159AA53E30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05B0BD0-F387-4188-A177-65B27AD322AF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60F077E-F27C-4C81-9FF1-8B8FFD1FA68A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3481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pic>
        <p:nvPicPr>
          <p:cNvPr id="34820" name="navigation8" descr="ujkm,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</p:spPr>
      </p:pic>
      <p:sp>
        <p:nvSpPr>
          <p:cNvPr id="34821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1400" b="1" dirty="0">
                <a:solidFill>
                  <a:schemeClr val="hlink"/>
                </a:solidFill>
                <a:cs typeface="Arial" charset="0"/>
              </a:rPr>
              <a:t>www.rosatom.ru</a:t>
            </a:r>
            <a:endParaRPr lang="ru-RU" sz="1400" b="1" dirty="0">
              <a:solidFill>
                <a:schemeClr val="hlink"/>
              </a:solidFill>
              <a:cs typeface="Arial" charset="0"/>
            </a:endParaRPr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5634044" y="1214422"/>
            <a:ext cx="1885968" cy="365126"/>
            <a:chOff x="5580063" y="1071562"/>
            <a:chExt cx="1885968" cy="365126"/>
          </a:xfrm>
        </p:grpSpPr>
        <p:sp>
          <p:nvSpPr>
            <p:cNvPr id="10" name="navigation1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580063" y="1076325"/>
              <a:ext cx="360362" cy="360363"/>
            </a:xfrm>
            <a:prstGeom prst="ellipse">
              <a:avLst/>
            </a:prstGeom>
            <a:noFill/>
            <a:ln w="28575" algn="ctr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1" name="navigation2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7105668" y="1071562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/>
                  </a:solidFill>
                </a:rPr>
                <a:t>6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2" name="navigation3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205538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13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518275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4</a:t>
              </a:r>
            </a:p>
          </p:txBody>
        </p:sp>
        <p:sp>
          <p:nvSpPr>
            <p:cNvPr id="14" name="navigation5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831013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5</a:t>
              </a:r>
            </a:p>
          </p:txBody>
        </p:sp>
        <p:sp>
          <p:nvSpPr>
            <p:cNvPr id="15" name="navigation6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872172" y="1076325"/>
              <a:ext cx="360363" cy="360363"/>
            </a:xfrm>
            <a:prstGeom prst="ellipse">
              <a:avLst/>
            </a:prstGeom>
            <a:solidFill>
              <a:schemeClr val="bg1"/>
            </a:solidFill>
            <a:ln w="28575" algn="ctr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hlink"/>
                  </a:solidFill>
                </a:rPr>
                <a:t>2</a:t>
              </a:r>
              <a:endParaRPr lang="ru-RU" sz="2400" b="1" dirty="0">
                <a:solidFill>
                  <a:schemeClr val="hlink"/>
                </a:solidFill>
              </a:endParaRPr>
            </a:p>
          </p:txBody>
        </p:sp>
      </p:grpSp>
    </p:spTree>
  </p:cSld>
  <p:clrMapOvr>
    <a:masterClrMapping/>
  </p:clrMapOvr>
  <p:transition>
    <p:split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CB0E0F2-DEBE-4131-B760-817C04D4D3EF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77A1448-9BFF-47DA-8117-5F6FC7229A73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2A49DA-44CA-4C61-B0FF-70A4E02E6CFA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FF5DFF0-4B22-4E6A-B7D6-1D899529252F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FBED01D-0AEA-4AC6-B83E-548AE44D8AB8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8FEDB50-DC7D-4CE8-8464-39F735679AEA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018D208-1704-45CE-A871-CEA3A08E0BA7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4ACE38C-DDE3-48E5-A640-BB050C5DBBD4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EB209F-DB5C-49FC-8C17-3740E26DB783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22056C2-A88F-404C-89B7-5C34345050DC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0"/>
            <a:ext cx="7632700" cy="962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68313" y="1125538"/>
            <a:ext cx="8424862" cy="5148262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69F1B6-96DE-4708-90AE-1648652F4A5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Титульный слайд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>
            <a:hlinkClick r:id="" action="ppaction://noaction"/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hlink"/>
                </a:solidFill>
              </a:rPr>
              <a:t>www.rosatom.ru</a:t>
            </a:r>
            <a:endParaRPr lang="ru-RU" sz="1400" b="1" dirty="0">
              <a:solidFill>
                <a:schemeClr val="hlink"/>
              </a:solidFill>
            </a:endParaRPr>
          </a:p>
        </p:txBody>
      </p:sp>
      <p:sp>
        <p:nvSpPr>
          <p:cNvPr id="1105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105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grpSp>
        <p:nvGrpSpPr>
          <p:cNvPr id="10" name="Группа 9"/>
          <p:cNvGrpSpPr/>
          <p:nvPr userDrawn="1"/>
        </p:nvGrpSpPr>
        <p:grpSpPr>
          <a:xfrm>
            <a:off x="5580063" y="1194011"/>
            <a:ext cx="1924068" cy="369888"/>
            <a:chOff x="5580063" y="1074732"/>
            <a:chExt cx="1924068" cy="369888"/>
          </a:xfrm>
        </p:grpSpPr>
        <p:sp>
          <p:nvSpPr>
            <p:cNvPr id="11" name="navigation1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580063" y="1076325"/>
              <a:ext cx="360362" cy="360363"/>
            </a:xfrm>
            <a:prstGeom prst="ellipse">
              <a:avLst/>
            </a:prstGeom>
            <a:noFill/>
            <a:ln w="28575" algn="ctr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2" name="navigation2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892800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13" name="navigation3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205538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14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7143768" y="1084257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/>
                  </a:solidFill>
                </a:rPr>
                <a:t>6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navigation5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831013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5</a:t>
              </a:r>
            </a:p>
          </p:txBody>
        </p:sp>
        <p:sp>
          <p:nvSpPr>
            <p:cNvPr id="16" name="navigation6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491301" y="1074732"/>
              <a:ext cx="360363" cy="360363"/>
            </a:xfrm>
            <a:prstGeom prst="ellipse">
              <a:avLst/>
            </a:prstGeom>
            <a:solidFill>
              <a:schemeClr val="bg1"/>
            </a:solidFill>
            <a:ln w="28575" algn="ctr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hlink"/>
                  </a:solidFill>
                </a:rPr>
                <a:t>4</a:t>
              </a:r>
              <a:endParaRPr lang="ru-RU" sz="2400" b="1" dirty="0">
                <a:solidFill>
                  <a:schemeClr val="hlink"/>
                </a:solidFill>
              </a:endParaRPr>
            </a:p>
          </p:txBody>
        </p:sp>
      </p:grpSp>
    </p:spTree>
  </p:cSld>
  <p:clrMapOvr>
    <a:masterClrMapping/>
  </p:clrMapOvr>
  <p:transition>
    <p:split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CB0E0F2-DEBE-4131-B760-817C04D4D3EF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77A1448-9BFF-47DA-8117-5F6FC7229A73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2A49DA-44CA-4C61-B0FF-70A4E02E6CFA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FF5DFF0-4B22-4E6A-B7D6-1D899529252F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FBED01D-0AEA-4AC6-B83E-548AE44D8AB8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8FEDB50-DC7D-4CE8-8464-39F735679AEA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018D208-1704-45CE-A871-CEA3A08E0BA7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4ACE38C-DDE3-48E5-A640-BB050C5DBBD4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EB209F-DB5C-49FC-8C17-3740E26DB783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22056C2-A88F-404C-89B7-5C34345050DC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Титульный слайд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>
            <a:hlinkClick r:id="" action="ppaction://noaction"/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hlink"/>
                </a:solidFill>
              </a:rPr>
              <a:t>www.rosatom.ru</a:t>
            </a:r>
            <a:endParaRPr lang="ru-RU" sz="1400" b="1" dirty="0">
              <a:solidFill>
                <a:schemeClr val="hlink"/>
              </a:solidFill>
            </a:endParaRPr>
          </a:p>
        </p:txBody>
      </p:sp>
      <p:sp>
        <p:nvSpPr>
          <p:cNvPr id="1126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126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grpSp>
        <p:nvGrpSpPr>
          <p:cNvPr id="11" name="Группа 10"/>
          <p:cNvGrpSpPr/>
          <p:nvPr userDrawn="1"/>
        </p:nvGrpSpPr>
        <p:grpSpPr>
          <a:xfrm>
            <a:off x="5637213" y="1194011"/>
            <a:ext cx="1992333" cy="369888"/>
            <a:chOff x="5580063" y="1066800"/>
            <a:chExt cx="1992333" cy="369888"/>
          </a:xfrm>
        </p:grpSpPr>
        <p:sp>
          <p:nvSpPr>
            <p:cNvPr id="12" name="navigation1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580063" y="1076325"/>
              <a:ext cx="360362" cy="360363"/>
            </a:xfrm>
            <a:prstGeom prst="ellipse">
              <a:avLst/>
            </a:prstGeom>
            <a:noFill/>
            <a:ln w="28575" algn="ctr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3" name="navigation2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892800" y="1066800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14" name="navigation3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205538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15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518275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4</a:t>
              </a:r>
            </a:p>
          </p:txBody>
        </p:sp>
        <p:sp>
          <p:nvSpPr>
            <p:cNvPr id="16" name="navigation5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7212034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/>
                  </a:solidFill>
                </a:rPr>
                <a:t>6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7" name="navigation6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859606" y="1073152"/>
              <a:ext cx="360363" cy="360363"/>
            </a:xfrm>
            <a:prstGeom prst="ellipse">
              <a:avLst/>
            </a:prstGeom>
            <a:solidFill>
              <a:schemeClr val="bg1"/>
            </a:solidFill>
            <a:ln w="28575" algn="ctr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hlink"/>
                  </a:solidFill>
                </a:rPr>
                <a:t>5</a:t>
              </a:r>
              <a:endParaRPr lang="ru-RU" sz="2400" b="1" dirty="0">
                <a:solidFill>
                  <a:schemeClr val="hlink"/>
                </a:solidFill>
              </a:endParaRPr>
            </a:p>
          </p:txBody>
        </p:sp>
      </p:grpSp>
    </p:spTree>
  </p:cSld>
  <p:clrMapOvr>
    <a:masterClrMapping/>
  </p:clrMapOvr>
  <p:transition>
    <p:split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CB0E0F2-DEBE-4131-B760-817C04D4D3EF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77A1448-9BFF-47DA-8117-5F6FC7229A73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2A49DA-44CA-4C61-B0FF-70A4E02E6CFA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FF5DFF0-4B22-4E6A-B7D6-1D899529252F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FBED01D-0AEA-4AC6-B83E-548AE44D8AB8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8FEDB50-DC7D-4CE8-8464-39F735679AEA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018D208-1704-45CE-A871-CEA3A08E0BA7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4ACE38C-DDE3-48E5-A640-BB050C5DBBD4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EB209F-DB5C-49FC-8C17-3740E26DB783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22056C2-A88F-404C-89B7-5C34345050DC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>
            <a:hlinkClick r:id="" action="ppaction://noaction"/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hlink"/>
                </a:solidFill>
              </a:rPr>
              <a:t>www.rosatom.ru</a:t>
            </a:r>
            <a:endParaRPr lang="ru-RU" sz="1400" b="1" dirty="0">
              <a:solidFill>
                <a:schemeClr val="hlink"/>
              </a:solidFill>
            </a:endParaRPr>
          </a:p>
        </p:txBody>
      </p:sp>
      <p:grpSp>
        <p:nvGrpSpPr>
          <p:cNvPr id="14" name="Группа 13"/>
          <p:cNvGrpSpPr/>
          <p:nvPr userDrawn="1"/>
        </p:nvGrpSpPr>
        <p:grpSpPr>
          <a:xfrm>
            <a:off x="5618163" y="1198789"/>
            <a:ext cx="1924050" cy="360363"/>
            <a:chOff x="5580063" y="1076325"/>
            <a:chExt cx="1924050" cy="360363"/>
          </a:xfrm>
        </p:grpSpPr>
        <p:sp>
          <p:nvSpPr>
            <p:cNvPr id="6" name="navigation1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580063" y="1076325"/>
              <a:ext cx="360362" cy="360363"/>
            </a:xfrm>
            <a:prstGeom prst="ellipse">
              <a:avLst/>
            </a:prstGeom>
            <a:noFill/>
            <a:ln w="28575" algn="ctr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7" name="navigation2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892800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8" name="navigation3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205538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9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518275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4</a:t>
              </a:r>
            </a:p>
          </p:txBody>
        </p:sp>
        <p:sp>
          <p:nvSpPr>
            <p:cNvPr id="10" name="navigation5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831013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5</a:t>
              </a:r>
            </a:p>
          </p:txBody>
        </p:sp>
        <p:sp>
          <p:nvSpPr>
            <p:cNvPr id="11" name="navigation6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7143750" y="1076325"/>
              <a:ext cx="360363" cy="360363"/>
            </a:xfrm>
            <a:prstGeom prst="ellipse">
              <a:avLst/>
            </a:prstGeom>
            <a:solidFill>
              <a:schemeClr val="bg1"/>
            </a:solidFill>
            <a:ln w="28575" algn="ctr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hlink"/>
                  </a:solidFill>
                </a:rPr>
                <a:t>6</a:t>
              </a:r>
            </a:p>
          </p:txBody>
        </p:sp>
      </p:grpSp>
      <p:sp>
        <p:nvSpPr>
          <p:cNvPr id="11469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1469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split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CB0E0F2-DEBE-4131-B760-817C04D4D3EF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77A1448-9BFF-47DA-8117-5F6FC7229A73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2A49DA-44CA-4C61-B0FF-70A4E02E6CFA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FF5DFF0-4B22-4E6A-B7D6-1D899529252F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FBED01D-0AEA-4AC6-B83E-548AE44D8AB8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8FEDB50-DC7D-4CE8-8464-39F735679AEA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018D208-1704-45CE-A871-CEA3A08E0BA7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4ACE38C-DDE3-48E5-A640-BB050C5DBBD4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EB209F-DB5C-49FC-8C17-3740E26DB783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22056C2-A88F-404C-89B7-5C34345050DC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48900315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2756215"/>
      </p:ext>
    </p:extLst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7080876"/>
      </p:ext>
    </p:extLst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6119944"/>
      </p:ext>
    </p:extLst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6698217"/>
      </p:ext>
    </p:extLst>
  </p:cSld>
  <p:clrMapOvr>
    <a:masterClrMapping/>
  </p:clrMapOvr>
  <p:transition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8540704"/>
      </p:ext>
    </p:extLst>
  </p:cSld>
  <p:clrMapOvr>
    <a:masterClrMapping/>
  </p:clrMapOvr>
  <p:transition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4908343"/>
      </p:ext>
    </p:extLst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5988750"/>
      </p:ext>
    </p:extLst>
  </p:cSld>
  <p:clrMapOvr>
    <a:masterClrMapping/>
  </p:clrMapOvr>
  <p:transition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095424"/>
      </p:ext>
    </p:extLst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6737688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103.xml"/><Relationship Id="rId7" Type="http://schemas.openxmlformats.org/officeDocument/2006/relationships/slideLayout" Target="../slideLayouts/slideLayout107.xml"/><Relationship Id="rId12" Type="http://schemas.openxmlformats.org/officeDocument/2006/relationships/slideLayout" Target="../slideLayouts/slideLayout112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10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10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10.xml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Relationship Id="rId14" Type="http://schemas.openxmlformats.org/officeDocument/2006/relationships/image" Target="../media/image1.jpe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19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14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slideLayout" Target="../slideLayouts/slideLayout123.xml"/><Relationship Id="rId5" Type="http://schemas.openxmlformats.org/officeDocument/2006/relationships/slideLayout" Target="../slideLayouts/slideLayout117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116.xml"/><Relationship Id="rId9" Type="http://schemas.openxmlformats.org/officeDocument/2006/relationships/slideLayout" Target="../slideLayouts/slideLayout121.xml"/><Relationship Id="rId14" Type="http://schemas.openxmlformats.org/officeDocument/2006/relationships/image" Target="../media/image2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.xml"/><Relationship Id="rId13" Type="http://schemas.openxmlformats.org/officeDocument/2006/relationships/slideLayout" Target="../slideLayouts/slideLayout136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30.xml"/><Relationship Id="rId12" Type="http://schemas.openxmlformats.org/officeDocument/2006/relationships/slideLayout" Target="../slideLayouts/slideLayout135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25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11" Type="http://schemas.openxmlformats.org/officeDocument/2006/relationships/slideLayout" Target="../slideLayouts/slideLayout134.xml"/><Relationship Id="rId5" Type="http://schemas.openxmlformats.org/officeDocument/2006/relationships/slideLayout" Target="../slideLayouts/slideLayout128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33.xml"/><Relationship Id="rId4" Type="http://schemas.openxmlformats.org/officeDocument/2006/relationships/slideLayout" Target="../slideLayouts/slideLayout127.xml"/><Relationship Id="rId9" Type="http://schemas.openxmlformats.org/officeDocument/2006/relationships/slideLayout" Target="../slideLayouts/slideLayout132.xml"/><Relationship Id="rId14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4.xml"/><Relationship Id="rId13" Type="http://schemas.openxmlformats.org/officeDocument/2006/relationships/slideLayout" Target="../slideLayouts/slideLayout149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139.xml"/><Relationship Id="rId7" Type="http://schemas.openxmlformats.org/officeDocument/2006/relationships/slideLayout" Target="../slideLayouts/slideLayout143.xml"/><Relationship Id="rId12" Type="http://schemas.openxmlformats.org/officeDocument/2006/relationships/slideLayout" Target="../slideLayouts/slideLayout148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38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37.xml"/><Relationship Id="rId6" Type="http://schemas.openxmlformats.org/officeDocument/2006/relationships/slideLayout" Target="../slideLayouts/slideLayout142.xml"/><Relationship Id="rId11" Type="http://schemas.openxmlformats.org/officeDocument/2006/relationships/slideLayout" Target="../slideLayouts/slideLayout147.xml"/><Relationship Id="rId5" Type="http://schemas.openxmlformats.org/officeDocument/2006/relationships/slideLayout" Target="../slideLayouts/slideLayout141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46.xml"/><Relationship Id="rId4" Type="http://schemas.openxmlformats.org/officeDocument/2006/relationships/slideLayout" Target="../slideLayouts/slideLayout140.xml"/><Relationship Id="rId9" Type="http://schemas.openxmlformats.org/officeDocument/2006/relationships/slideLayout" Target="../slideLayouts/slideLayout145.xml"/><Relationship Id="rId14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56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51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1" Type="http://schemas.openxmlformats.org/officeDocument/2006/relationships/slideLayout" Target="../slideLayouts/slideLayout160.xml"/><Relationship Id="rId5" Type="http://schemas.openxmlformats.org/officeDocument/2006/relationships/slideLayout" Target="../slideLayouts/slideLayout154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Relationship Id="rId14" Type="http://schemas.openxmlformats.org/officeDocument/2006/relationships/image" Target="../media/image2.pn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8.xml"/><Relationship Id="rId13" Type="http://schemas.openxmlformats.org/officeDocument/2006/relationships/theme" Target="../theme/theme15.xml"/><Relationship Id="rId3" Type="http://schemas.openxmlformats.org/officeDocument/2006/relationships/slideLayout" Target="../slideLayouts/slideLayout163.xml"/><Relationship Id="rId7" Type="http://schemas.openxmlformats.org/officeDocument/2006/relationships/slideLayout" Target="../slideLayouts/slideLayout167.xml"/><Relationship Id="rId12" Type="http://schemas.openxmlformats.org/officeDocument/2006/relationships/slideLayout" Target="../slideLayouts/slideLayout172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16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61.xml"/><Relationship Id="rId6" Type="http://schemas.openxmlformats.org/officeDocument/2006/relationships/slideLayout" Target="../slideLayouts/slideLayout166.xml"/><Relationship Id="rId11" Type="http://schemas.openxmlformats.org/officeDocument/2006/relationships/slideLayout" Target="../slideLayouts/slideLayout171.xml"/><Relationship Id="rId5" Type="http://schemas.openxmlformats.org/officeDocument/2006/relationships/slideLayout" Target="../slideLayouts/slideLayout16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70.xml"/><Relationship Id="rId4" Type="http://schemas.openxmlformats.org/officeDocument/2006/relationships/slideLayout" Target="../slideLayouts/slideLayout164.xml"/><Relationship Id="rId9" Type="http://schemas.openxmlformats.org/officeDocument/2006/relationships/slideLayout" Target="../slideLayouts/slideLayout169.xml"/><Relationship Id="rId14" Type="http://schemas.openxmlformats.org/officeDocument/2006/relationships/image" Target="../media/image1.jpe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0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75.xml"/><Relationship Id="rId7" Type="http://schemas.openxmlformats.org/officeDocument/2006/relationships/slideLayout" Target="../slideLayouts/slideLayout179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174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73.xml"/><Relationship Id="rId6" Type="http://schemas.openxmlformats.org/officeDocument/2006/relationships/slideLayout" Target="../slideLayouts/slideLayout178.xml"/><Relationship Id="rId11" Type="http://schemas.openxmlformats.org/officeDocument/2006/relationships/slideLayout" Target="../slideLayouts/slideLayout183.xml"/><Relationship Id="rId5" Type="http://schemas.openxmlformats.org/officeDocument/2006/relationships/slideLayout" Target="../slideLayouts/slideLayout177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82.xml"/><Relationship Id="rId4" Type="http://schemas.openxmlformats.org/officeDocument/2006/relationships/slideLayout" Target="../slideLayouts/slideLayout176.xml"/><Relationship Id="rId9" Type="http://schemas.openxmlformats.org/officeDocument/2006/relationships/slideLayout" Target="../slideLayouts/slideLayout181.xml"/><Relationship Id="rId14" Type="http://schemas.openxmlformats.org/officeDocument/2006/relationships/image" Target="../media/image2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1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86.xml"/><Relationship Id="rId7" Type="http://schemas.openxmlformats.org/officeDocument/2006/relationships/slideLayout" Target="../slideLayouts/slideLayout190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185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84.xml"/><Relationship Id="rId6" Type="http://schemas.openxmlformats.org/officeDocument/2006/relationships/slideLayout" Target="../slideLayouts/slideLayout189.xml"/><Relationship Id="rId11" Type="http://schemas.openxmlformats.org/officeDocument/2006/relationships/slideLayout" Target="../slideLayouts/slideLayout194.xml"/><Relationship Id="rId5" Type="http://schemas.openxmlformats.org/officeDocument/2006/relationships/slideLayout" Target="../slideLayouts/slideLayout188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93.xml"/><Relationship Id="rId4" Type="http://schemas.openxmlformats.org/officeDocument/2006/relationships/slideLayout" Target="../slideLayouts/slideLayout187.xml"/><Relationship Id="rId9" Type="http://schemas.openxmlformats.org/officeDocument/2006/relationships/slideLayout" Target="../slideLayouts/slideLayout192.xml"/><Relationship Id="rId14" Type="http://schemas.openxmlformats.org/officeDocument/2006/relationships/image" Target="../media/image2.pn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heme" Target="../theme/theme18.xml"/><Relationship Id="rId7" Type="http://schemas.openxmlformats.org/officeDocument/2006/relationships/image" Target="../media/image19.emf"/><Relationship Id="rId2" Type="http://schemas.openxmlformats.org/officeDocument/2006/relationships/slideLayout" Target="../slideLayouts/slideLayout196.xml"/><Relationship Id="rId1" Type="http://schemas.openxmlformats.org/officeDocument/2006/relationships/slideLayout" Target="../slideLayouts/slideLayout195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21.pn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4.xml"/><Relationship Id="rId13" Type="http://schemas.openxmlformats.org/officeDocument/2006/relationships/theme" Target="../theme/theme19.xml"/><Relationship Id="rId3" Type="http://schemas.openxmlformats.org/officeDocument/2006/relationships/slideLayout" Target="../slideLayouts/slideLayout199.xml"/><Relationship Id="rId7" Type="http://schemas.openxmlformats.org/officeDocument/2006/relationships/slideLayout" Target="../slideLayouts/slideLayout203.xml"/><Relationship Id="rId12" Type="http://schemas.openxmlformats.org/officeDocument/2006/relationships/slideLayout" Target="../slideLayouts/slideLayout208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198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97.xml"/><Relationship Id="rId6" Type="http://schemas.openxmlformats.org/officeDocument/2006/relationships/slideLayout" Target="../slideLayouts/slideLayout202.xml"/><Relationship Id="rId11" Type="http://schemas.openxmlformats.org/officeDocument/2006/relationships/slideLayout" Target="../slideLayouts/slideLayout207.xml"/><Relationship Id="rId5" Type="http://schemas.openxmlformats.org/officeDocument/2006/relationships/slideLayout" Target="../slideLayouts/slideLayout201.xml"/><Relationship Id="rId15" Type="http://schemas.openxmlformats.org/officeDocument/2006/relationships/image" Target="../media/image28.png"/><Relationship Id="rId10" Type="http://schemas.openxmlformats.org/officeDocument/2006/relationships/slideLayout" Target="../slideLayouts/slideLayout206.xml"/><Relationship Id="rId4" Type="http://schemas.openxmlformats.org/officeDocument/2006/relationships/slideLayout" Target="../slideLayouts/slideLayout200.xml"/><Relationship Id="rId9" Type="http://schemas.openxmlformats.org/officeDocument/2006/relationships/slideLayout" Target="../slideLayouts/slideLayout205.xml"/><Relationship Id="rId14" Type="http://schemas.openxmlformats.org/officeDocument/2006/relationships/image" Target="../media/image27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7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6.xml"/><Relationship Id="rId13" Type="http://schemas.openxmlformats.org/officeDocument/2006/relationships/slideLayout" Target="../slideLayouts/slideLayout221.xml"/><Relationship Id="rId3" Type="http://schemas.openxmlformats.org/officeDocument/2006/relationships/slideLayout" Target="../slideLayouts/slideLayout211.xml"/><Relationship Id="rId7" Type="http://schemas.openxmlformats.org/officeDocument/2006/relationships/slideLayout" Target="../slideLayouts/slideLayout215.xml"/><Relationship Id="rId12" Type="http://schemas.openxmlformats.org/officeDocument/2006/relationships/slideLayout" Target="../slideLayouts/slideLayout220.xml"/><Relationship Id="rId2" Type="http://schemas.openxmlformats.org/officeDocument/2006/relationships/slideLayout" Target="../slideLayouts/slideLayout210.xml"/><Relationship Id="rId1" Type="http://schemas.openxmlformats.org/officeDocument/2006/relationships/slideLayout" Target="../slideLayouts/slideLayout209.xml"/><Relationship Id="rId6" Type="http://schemas.openxmlformats.org/officeDocument/2006/relationships/slideLayout" Target="../slideLayouts/slideLayout214.xml"/><Relationship Id="rId11" Type="http://schemas.openxmlformats.org/officeDocument/2006/relationships/slideLayout" Target="../slideLayouts/slideLayout219.xml"/><Relationship Id="rId5" Type="http://schemas.openxmlformats.org/officeDocument/2006/relationships/slideLayout" Target="../slideLayouts/slideLayout213.xml"/><Relationship Id="rId10" Type="http://schemas.openxmlformats.org/officeDocument/2006/relationships/slideLayout" Target="../slideLayouts/slideLayout218.xml"/><Relationship Id="rId4" Type="http://schemas.openxmlformats.org/officeDocument/2006/relationships/slideLayout" Target="../slideLayouts/slideLayout212.xml"/><Relationship Id="rId9" Type="http://schemas.openxmlformats.org/officeDocument/2006/relationships/slideLayout" Target="../slideLayouts/slideLayout217.xml"/><Relationship Id="rId14" Type="http://schemas.openxmlformats.org/officeDocument/2006/relationships/theme" Target="../theme/theme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46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image" Target="../media/image1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8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9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image" Target="../media/image2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81.xml"/><Relationship Id="rId7" Type="http://schemas.openxmlformats.org/officeDocument/2006/relationships/slideLayout" Target="../slideLayouts/slideLayout85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80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5" Type="http://schemas.openxmlformats.org/officeDocument/2006/relationships/slideLayout" Target="../slideLayouts/slideLayout83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88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Relationship Id="rId14" Type="http://schemas.openxmlformats.org/officeDocument/2006/relationships/image" Target="../media/image2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1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fld id="{39C25FF4-21E9-41B0-81DE-DEE261383BF1}" type="slidenum">
              <a:rPr lang="ru-RU"/>
              <a:pPr/>
              <a:t>‹#›</a:t>
            </a:fld>
            <a:endParaRPr lang="ru-RU" dirty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fld id="{39C25FF4-21E9-41B0-81DE-DEE261383BF1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59231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  <p:sldLayoutId id="2147483960" r:id="rId12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103428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7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pPr>
              <a:defRPr/>
            </a:pPr>
            <a:fld id="{0A2E7403-A31C-4612-ADD8-582B85A3F13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4" y="1125538"/>
            <a:ext cx="8424862" cy="514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pic>
        <p:nvPicPr>
          <p:cNvPr id="4112" name="Picture 16" descr="ujkm,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441" name="Rectangle 17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2163764" y="6469065"/>
            <a:ext cx="179387" cy="17938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endParaRPr lang="ru-RU" sz="1200" b="1" dirty="0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61589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  <p:sldLayoutId id="2147483804" r:id="rId9"/>
    <p:sldLayoutId id="2147483805" r:id="rId10"/>
    <p:sldLayoutId id="2147483806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2200" b="1">
                <a:solidFill>
                  <a:srgbClr val="003274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7531B5C-6534-4308-BBE4-BDA73A2632A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257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257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257029" name="navigation8" descr="ujkm,"/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80861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09" r:id="rId2"/>
    <p:sldLayoutId id="2147483810" r:id="rId3"/>
    <p:sldLayoutId id="2147483811" r:id="rId4"/>
    <p:sldLayoutId id="2147483812" r:id="rId5"/>
    <p:sldLayoutId id="2147483813" r:id="rId6"/>
    <p:sldLayoutId id="2147483814" r:id="rId7"/>
    <p:sldLayoutId id="2147483815" r:id="rId8"/>
    <p:sldLayoutId id="2147483816" r:id="rId9"/>
    <p:sldLayoutId id="2147483817" r:id="rId10"/>
    <p:sldLayoutId id="2147483818" r:id="rId11"/>
    <p:sldLayoutId id="2147483819" r:id="rId12"/>
    <p:sldLayoutId id="2147483820" r:id="rId13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fld id="{39C25FF4-21E9-41B0-81DE-DEE261383BF1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279597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8" r:id="rId5"/>
    <p:sldLayoutId id="2147483839" r:id="rId6"/>
    <p:sldLayoutId id="2147483840" r:id="rId7"/>
    <p:sldLayoutId id="2147483841" r:id="rId8"/>
    <p:sldLayoutId id="2147483842" r:id="rId9"/>
    <p:sldLayoutId id="2147483843" r:id="rId10"/>
    <p:sldLayoutId id="2147483844" r:id="rId11"/>
    <p:sldLayoutId id="2147483961" r:id="rId12"/>
    <p:sldLayoutId id="2147483969" r:id="rId13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  <a:cs typeface="+mn-cs"/>
              </a:defRPr>
            </a:lvl1pPr>
          </a:lstStyle>
          <a:p>
            <a:pPr>
              <a:defRPr/>
            </a:pPr>
            <a:fld id="{7FBFBA33-169F-44A9-A5DF-A0C25D734F8D}" type="slidenum">
              <a:rPr lang="ru-RU">
                <a:latin typeface="Arial"/>
              </a:rPr>
              <a:pPr>
                <a:defRPr/>
              </a:pPr>
              <a:t>‹#›</a:t>
            </a:fld>
            <a:endParaRPr lang="ru-RU" dirty="0">
              <a:latin typeface="Arial"/>
            </a:endParaRPr>
          </a:p>
        </p:txBody>
      </p:sp>
      <p:sp>
        <p:nvSpPr>
          <p:cNvPr id="20377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20378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203781" name="navigation8" descr="ujkm,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06951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3859" r:id="rId2"/>
    <p:sldLayoutId id="2147483860" r:id="rId3"/>
    <p:sldLayoutId id="2147483861" r:id="rId4"/>
    <p:sldLayoutId id="2147483862" r:id="rId5"/>
    <p:sldLayoutId id="2147483863" r:id="rId6"/>
    <p:sldLayoutId id="2147483864" r:id="rId7"/>
    <p:sldLayoutId id="2147483865" r:id="rId8"/>
    <p:sldLayoutId id="2147483866" r:id="rId9"/>
    <p:sldLayoutId id="2147483867" r:id="rId10"/>
    <p:sldLayoutId id="2147483868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2200" b="1">
                <a:solidFill>
                  <a:schemeClr val="hlin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45F48F7-F5BB-47E4-824F-28845CE8C8E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290640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  <p:sldLayoutId id="2147483876" r:id="rId6"/>
    <p:sldLayoutId id="2147483877" r:id="rId7"/>
    <p:sldLayoutId id="2147483878" r:id="rId8"/>
    <p:sldLayoutId id="2147483879" r:id="rId9"/>
    <p:sldLayoutId id="2147483880" r:id="rId10"/>
    <p:sldLayoutId id="2147483881" r:id="rId11"/>
    <p:sldLayoutId id="2147483882" r:id="rId12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7" y="6448479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fld id="{39C25FF4-21E9-41B0-81DE-DEE261383B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14341" name="navigation8" descr="ujkm,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4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428458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  <p:sldLayoutId id="2147483895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7" y="6448499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fld id="{39C25FF4-21E9-41B0-81DE-DEE261383BF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14341" name="navigation8" descr="ujkm,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4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687276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1" r:id="rId1"/>
    <p:sldLayoutId id="2147483922" r:id="rId2"/>
    <p:sldLayoutId id="2147483923" r:id="rId3"/>
    <p:sldLayoutId id="2147483924" r:id="rId4"/>
    <p:sldLayoutId id="2147483925" r:id="rId5"/>
    <p:sldLayoutId id="2147483926" r:id="rId6"/>
    <p:sldLayoutId id="2147483927" r:id="rId7"/>
    <p:sldLayoutId id="2147483928" r:id="rId8"/>
    <p:sldLayoutId id="2147483929" r:id="rId9"/>
    <p:sldLayoutId id="2147483930" r:id="rId10"/>
    <p:sldLayoutId id="2147483931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068636541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80990" y="1980009"/>
            <a:ext cx="2183476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206"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112653" y="4197989"/>
            <a:ext cx="1920150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206"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Printed 12.5.2014 2:43 A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8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7153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56996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206"/>
            <a:r>
              <a:rPr lang="ru-RU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91" y="946660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89" y="6265770"/>
            <a:ext cx="872284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8" y="6578595"/>
            <a:ext cx="700257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1778" indent="-621778" defTabSz="913235">
              <a:tabLst>
                <a:tab pos="625015" algn="l"/>
              </a:tabLst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8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206"/>
              <a:r>
                <a:rPr lang="ru-RU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pPr defTabSz="914206"/>
              <a:r>
                <a:rPr lang="ru-RU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6454684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66" tIns="93266" rIns="93266" bIns="93266" anchor="ctr"/>
          <a:lstStyle/>
          <a:p>
            <a:pPr defTabSz="914206">
              <a:defRPr/>
            </a:pPr>
            <a:endParaRPr lang="ru-RU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2" y="902198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66" tIns="93266" rIns="93266" bIns="93266" anchor="ctr"/>
          <a:lstStyle/>
          <a:p>
            <a:pPr defTabSz="914206">
              <a:defRPr/>
            </a:pPr>
            <a:endParaRPr lang="ru-RU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8323" y="42452"/>
            <a:ext cx="905490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182" y="119001"/>
            <a:ext cx="1022737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222823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3" r:id="rId1"/>
    <p:sldLayoutId id="2147483964" r:id="rId2"/>
  </p:sldLayoutIdLst>
  <p:hf hdr="0" ftr="0" dt="0"/>
  <p:txStyles>
    <p:titleStyle>
      <a:lvl1pPr algn="l" defTabSz="913235" rtl="0" eaLnBrk="1" fontAlgn="base" hangingPunct="1">
        <a:spcBef>
          <a:spcPct val="0"/>
        </a:spcBef>
        <a:spcAft>
          <a:spcPct val="0"/>
        </a:spcAft>
        <a:tabLst>
          <a:tab pos="364323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331"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665"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8999"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332"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544" indent="-195925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6331" indent="-267170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6636" indent="-158683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31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665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999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332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665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996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329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663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fld id="{39C25FF4-21E9-41B0-81DE-DEE261383BF1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279597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4" r:id="rId1"/>
    <p:sldLayoutId id="2147483985" r:id="rId2"/>
    <p:sldLayoutId id="2147483986" r:id="rId3"/>
    <p:sldLayoutId id="2147483987" r:id="rId4"/>
    <p:sldLayoutId id="2147483988" r:id="rId5"/>
    <p:sldLayoutId id="2147483989" r:id="rId6"/>
    <p:sldLayoutId id="2147483990" r:id="rId7"/>
    <p:sldLayoutId id="2147483991" r:id="rId8"/>
    <p:sldLayoutId id="2147483992" r:id="rId9"/>
    <p:sldLayoutId id="2147483993" r:id="rId10"/>
    <p:sldLayoutId id="2147483994" r:id="rId11"/>
    <p:sldLayoutId id="2147483996" r:id="rId12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cs typeface="Arial" charset="0"/>
              </a:defRPr>
            </a:lvl1pPr>
          </a:lstStyle>
          <a:p>
            <a:fld id="{A663EA52-884A-401B-9C0B-BA7D6E6232EC}" type="slidenum">
              <a:rPr lang="ru-RU"/>
              <a:pPr/>
              <a:t>‹#›</a:t>
            </a:fld>
            <a:endParaRPr lang="ru-RU" dirty="0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922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9221" name="navigation8" descr="ujkm,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DBA0A2-AEAA-44EB-922F-9C415E835EDA}" type="datetime1">
              <a:rPr lang="ru-RU" smtClean="0"/>
              <a:t>27.07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F77C34-2D5A-4A96-B2FC-A5E7A210239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255922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9" r:id="rId2"/>
    <p:sldLayoutId id="2147484000" r:id="rId3"/>
    <p:sldLayoutId id="2147484001" r:id="rId4"/>
    <p:sldLayoutId id="2147484002" r:id="rId5"/>
    <p:sldLayoutId id="2147484003" r:id="rId6"/>
    <p:sldLayoutId id="2147484004" r:id="rId7"/>
    <p:sldLayoutId id="2147484005" r:id="rId8"/>
    <p:sldLayoutId id="2147484006" r:id="rId9"/>
    <p:sldLayoutId id="2147484007" r:id="rId10"/>
    <p:sldLayoutId id="2147484008" r:id="rId11"/>
    <p:sldLayoutId id="2147484009" r:id="rId12"/>
    <p:sldLayoutId id="2147484023" r:id="rId1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cs typeface="Arial" charset="0"/>
              </a:defRPr>
            </a:lvl1pPr>
          </a:lstStyle>
          <a:p>
            <a:fld id="{98AFEC57-EB06-4D59-A7D0-215126966E20}" type="slidenum">
              <a:rPr lang="ru-RU"/>
              <a:pPr/>
              <a:t>‹#›</a:t>
            </a:fld>
            <a:endParaRPr lang="ru-RU" dirty="0"/>
          </a:p>
        </p:txBody>
      </p:sp>
      <p:sp>
        <p:nvSpPr>
          <p:cNvPr id="276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276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27653" name="navigation8" descr="ujkm,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  <p:grpSp>
        <p:nvGrpSpPr>
          <p:cNvPr id="11" name="Группа 10"/>
          <p:cNvGrpSpPr/>
          <p:nvPr/>
        </p:nvGrpSpPr>
        <p:grpSpPr>
          <a:xfrm>
            <a:off x="214282" y="6510359"/>
            <a:ext cx="1414473" cy="190478"/>
            <a:chOff x="458788" y="6467497"/>
            <a:chExt cx="1414473" cy="190478"/>
          </a:xfrm>
        </p:grpSpPr>
        <p:sp>
          <p:nvSpPr>
            <p:cNvPr id="12" name="navigation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458788" y="6478588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charset="0"/>
                </a:rPr>
                <a:t>1</a:t>
              </a:r>
            </a:p>
          </p:txBody>
        </p:sp>
        <p:sp>
          <p:nvSpPr>
            <p:cNvPr id="13" name="navigation2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674688" y="6469063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b="1" dirty="0">
                  <a:solidFill>
                    <a:schemeClr val="tx1"/>
                  </a:solidFill>
                  <a:cs typeface="Arial" charset="0"/>
                </a:rPr>
                <a:t>2</a:t>
              </a:r>
              <a:endParaRPr lang="ru-RU" sz="1200" b="1" dirty="0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14" name="navigation3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1693874" y="6467497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en-US" sz="1200" b="1" dirty="0">
                  <a:cs typeface="Arial" charset="0"/>
                </a:rPr>
                <a:t>6</a:t>
              </a:r>
              <a:endParaRPr lang="ru-RU" sz="1200" b="1" dirty="0">
                <a:cs typeface="Arial" charset="0"/>
              </a:endParaRPr>
            </a:p>
          </p:txBody>
        </p:sp>
        <p:sp>
          <p:nvSpPr>
            <p:cNvPr id="15" name="navigation7"/>
            <p:cNvSpPr>
              <a:spLocks noChangeShapeType="1"/>
            </p:cNvSpPr>
            <p:nvPr/>
          </p:nvSpPr>
          <p:spPr bwMode="auto">
            <a:xfrm>
              <a:off x="631825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6" name="navigation6"/>
            <p:cNvSpPr>
              <a:spLocks noChangeShapeType="1"/>
            </p:cNvSpPr>
            <p:nvPr/>
          </p:nvSpPr>
          <p:spPr bwMode="auto">
            <a:xfrm>
              <a:off x="895350" y="6469063"/>
              <a:ext cx="1588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7" name="navigation7"/>
            <p:cNvSpPr>
              <a:spLocks noChangeShapeType="1"/>
            </p:cNvSpPr>
            <p:nvPr userDrawn="1"/>
          </p:nvSpPr>
          <p:spPr bwMode="auto">
            <a:xfrm>
              <a:off x="1149328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8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182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1200" b="1" dirty="0"/>
                <a:t>4</a:t>
              </a:r>
            </a:p>
          </p:txBody>
        </p:sp>
        <p:sp>
          <p:nvSpPr>
            <p:cNvPr id="19" name="Rectangle 13"/>
            <p:cNvSpPr>
              <a:spLocks noChangeArrowheads="1"/>
            </p:cNvSpPr>
            <p:nvPr userDrawn="1"/>
          </p:nvSpPr>
          <p:spPr bwMode="auto">
            <a:xfrm>
              <a:off x="935041" y="6473826"/>
              <a:ext cx="179387" cy="179387"/>
            </a:xfrm>
            <a:prstGeom prst="rect">
              <a:avLst/>
            </a:prstGeom>
            <a:solidFill>
              <a:schemeClr val="hlink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3</a:t>
              </a:r>
              <a:endParaRPr lang="ru-RU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navigation7"/>
            <p:cNvSpPr>
              <a:spLocks noChangeShapeType="1"/>
            </p:cNvSpPr>
            <p:nvPr userDrawn="1"/>
          </p:nvSpPr>
          <p:spPr bwMode="auto">
            <a:xfrm>
              <a:off x="1652547" y="6468858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1" name="navigation7"/>
            <p:cNvSpPr>
              <a:spLocks noChangeShapeType="1"/>
            </p:cNvSpPr>
            <p:nvPr userDrawn="1"/>
          </p:nvSpPr>
          <p:spPr bwMode="auto">
            <a:xfrm>
              <a:off x="1395390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2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438275" y="6478588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5</a:t>
              </a:r>
              <a:endParaRPr lang="ru-RU" sz="1200" b="1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fld id="{20224EE2-69FB-42C8-8E3C-9785D9F190B6}" type="slidenum">
              <a:rPr lang="ru-RU"/>
              <a:pPr/>
              <a:t>‹#›</a:t>
            </a:fld>
            <a:endParaRPr lang="ru-RU" dirty="0"/>
          </a:p>
        </p:txBody>
      </p:sp>
      <p:sp>
        <p:nvSpPr>
          <p:cNvPr id="31749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pic>
        <p:nvPicPr>
          <p:cNvPr id="31754" name="navigation6" descr="ujkm,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  <p:grpSp>
        <p:nvGrpSpPr>
          <p:cNvPr id="11" name="Группа 10"/>
          <p:cNvGrpSpPr/>
          <p:nvPr/>
        </p:nvGrpSpPr>
        <p:grpSpPr>
          <a:xfrm>
            <a:off x="330154" y="6496071"/>
            <a:ext cx="1474814" cy="190478"/>
            <a:chOff x="396857" y="6467497"/>
            <a:chExt cx="1474814" cy="190478"/>
          </a:xfrm>
        </p:grpSpPr>
        <p:sp>
          <p:nvSpPr>
            <p:cNvPr id="12" name="navigation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1692284" y="6467497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en-US" sz="1200" b="1" dirty="0">
                  <a:cs typeface="Arial" charset="0"/>
                </a:rPr>
                <a:t>6</a:t>
              </a:r>
              <a:endParaRPr lang="ru-RU" sz="1200" b="1" dirty="0">
                <a:cs typeface="Arial" charset="0"/>
              </a:endParaRPr>
            </a:p>
          </p:txBody>
        </p:sp>
        <p:sp>
          <p:nvSpPr>
            <p:cNvPr id="13" name="navigation2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674688" y="6469063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b="1" dirty="0">
                  <a:solidFill>
                    <a:schemeClr val="tx1"/>
                  </a:solidFill>
                  <a:cs typeface="Arial" charset="0"/>
                </a:rPr>
                <a:t>2</a:t>
              </a:r>
              <a:endParaRPr lang="ru-RU" sz="1200" b="1" dirty="0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14" name="navigation3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928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charset="0"/>
                </a:rPr>
                <a:t>3</a:t>
              </a:r>
            </a:p>
          </p:txBody>
        </p:sp>
        <p:sp>
          <p:nvSpPr>
            <p:cNvPr id="15" name="navigation7"/>
            <p:cNvSpPr>
              <a:spLocks noChangeShapeType="1"/>
            </p:cNvSpPr>
            <p:nvPr/>
          </p:nvSpPr>
          <p:spPr bwMode="auto">
            <a:xfrm>
              <a:off x="631825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6" name="navigation6"/>
            <p:cNvSpPr>
              <a:spLocks noChangeShapeType="1"/>
            </p:cNvSpPr>
            <p:nvPr/>
          </p:nvSpPr>
          <p:spPr bwMode="auto">
            <a:xfrm>
              <a:off x="895350" y="6469063"/>
              <a:ext cx="1588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7" name="navigation7"/>
            <p:cNvSpPr>
              <a:spLocks noChangeShapeType="1"/>
            </p:cNvSpPr>
            <p:nvPr userDrawn="1"/>
          </p:nvSpPr>
          <p:spPr bwMode="auto">
            <a:xfrm>
              <a:off x="1149328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8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182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1200" b="1" dirty="0"/>
                <a:t>4</a:t>
              </a:r>
            </a:p>
          </p:txBody>
        </p:sp>
        <p:sp>
          <p:nvSpPr>
            <p:cNvPr id="19" name="Rectangle 13"/>
            <p:cNvSpPr>
              <a:spLocks noChangeArrowheads="1"/>
            </p:cNvSpPr>
            <p:nvPr userDrawn="1"/>
          </p:nvSpPr>
          <p:spPr bwMode="auto">
            <a:xfrm>
              <a:off x="396857" y="6478588"/>
              <a:ext cx="179387" cy="179387"/>
            </a:xfrm>
            <a:prstGeom prst="rect">
              <a:avLst/>
            </a:prstGeom>
            <a:solidFill>
              <a:schemeClr val="hlink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1</a:t>
              </a:r>
              <a:endParaRPr lang="ru-RU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navigation7"/>
            <p:cNvSpPr>
              <a:spLocks noChangeShapeType="1"/>
            </p:cNvSpPr>
            <p:nvPr userDrawn="1"/>
          </p:nvSpPr>
          <p:spPr bwMode="auto">
            <a:xfrm>
              <a:off x="1652547" y="6468858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1" name="navigation7"/>
            <p:cNvSpPr>
              <a:spLocks noChangeShapeType="1"/>
            </p:cNvSpPr>
            <p:nvPr userDrawn="1"/>
          </p:nvSpPr>
          <p:spPr bwMode="auto">
            <a:xfrm>
              <a:off x="1395390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2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438275" y="6478588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5</a:t>
              </a:r>
              <a:endParaRPr lang="ru-RU" sz="1200" b="1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cs typeface="Arial" charset="0"/>
              </a:defRPr>
            </a:lvl1pPr>
          </a:lstStyle>
          <a:p>
            <a:fld id="{8AD15098-A811-4E07-946B-55DA15EE1276}" type="slidenum">
              <a:rPr lang="ru-RU"/>
              <a:pPr/>
              <a:t>‹#›</a:t>
            </a:fld>
            <a:endParaRPr lang="ru-RU" dirty="0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33797" name="navigation8" descr="ujkm,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  <p:grpSp>
        <p:nvGrpSpPr>
          <p:cNvPr id="11" name="Группа 10"/>
          <p:cNvGrpSpPr/>
          <p:nvPr/>
        </p:nvGrpSpPr>
        <p:grpSpPr>
          <a:xfrm>
            <a:off x="253742" y="6510359"/>
            <a:ext cx="1492487" cy="190478"/>
            <a:chOff x="393472" y="6467497"/>
            <a:chExt cx="1492487" cy="190478"/>
          </a:xfrm>
        </p:grpSpPr>
        <p:sp>
          <p:nvSpPr>
            <p:cNvPr id="12" name="navigation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393472" y="6478588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charset="0"/>
                </a:rPr>
                <a:t>1</a:t>
              </a:r>
            </a:p>
          </p:txBody>
        </p:sp>
        <p:sp>
          <p:nvSpPr>
            <p:cNvPr id="13" name="navigation2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1706572" y="6477022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b="1" dirty="0">
                  <a:solidFill>
                    <a:schemeClr val="tx1"/>
                  </a:solidFill>
                  <a:cs typeface="Arial" charset="0"/>
                </a:rPr>
                <a:t>6</a:t>
              </a:r>
              <a:endParaRPr lang="ru-RU" sz="1200" b="1" dirty="0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14" name="navigation3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928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charset="0"/>
                </a:rPr>
                <a:t>3</a:t>
              </a:r>
            </a:p>
          </p:txBody>
        </p:sp>
        <p:sp>
          <p:nvSpPr>
            <p:cNvPr id="15" name="navigation7"/>
            <p:cNvSpPr>
              <a:spLocks noChangeShapeType="1"/>
            </p:cNvSpPr>
            <p:nvPr/>
          </p:nvSpPr>
          <p:spPr bwMode="auto">
            <a:xfrm>
              <a:off x="631825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6" name="navigation6"/>
            <p:cNvSpPr>
              <a:spLocks noChangeShapeType="1"/>
            </p:cNvSpPr>
            <p:nvPr/>
          </p:nvSpPr>
          <p:spPr bwMode="auto">
            <a:xfrm>
              <a:off x="906236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7" name="navigation7"/>
            <p:cNvSpPr>
              <a:spLocks noChangeShapeType="1"/>
            </p:cNvSpPr>
            <p:nvPr userDrawn="1"/>
          </p:nvSpPr>
          <p:spPr bwMode="auto">
            <a:xfrm>
              <a:off x="1149328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8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182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1200" b="1" dirty="0"/>
                <a:t>4</a:t>
              </a:r>
            </a:p>
          </p:txBody>
        </p:sp>
        <p:sp>
          <p:nvSpPr>
            <p:cNvPr id="19" name="Rectangle 13"/>
            <p:cNvSpPr>
              <a:spLocks noChangeArrowheads="1"/>
            </p:cNvSpPr>
            <p:nvPr userDrawn="1"/>
          </p:nvSpPr>
          <p:spPr bwMode="auto">
            <a:xfrm>
              <a:off x="677865" y="6472258"/>
              <a:ext cx="179387" cy="179387"/>
            </a:xfrm>
            <a:prstGeom prst="rect">
              <a:avLst/>
            </a:prstGeom>
            <a:solidFill>
              <a:schemeClr val="hlink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2</a:t>
              </a:r>
              <a:endParaRPr lang="ru-RU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navigation7"/>
            <p:cNvSpPr>
              <a:spLocks noChangeShapeType="1"/>
            </p:cNvSpPr>
            <p:nvPr userDrawn="1"/>
          </p:nvSpPr>
          <p:spPr bwMode="auto">
            <a:xfrm>
              <a:off x="1652547" y="6468858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1" name="navigation7"/>
            <p:cNvSpPr>
              <a:spLocks noChangeShapeType="1"/>
            </p:cNvSpPr>
            <p:nvPr userDrawn="1"/>
          </p:nvSpPr>
          <p:spPr bwMode="auto">
            <a:xfrm>
              <a:off x="1395390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2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438275" y="6478588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5</a:t>
              </a:r>
              <a:endParaRPr lang="ru-RU" sz="1200" b="1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58" r:id="rId12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cs typeface="Arial" charset="0"/>
              </a:defRPr>
            </a:lvl1pPr>
          </a:lstStyle>
          <a:p>
            <a:fld id="{8AD15098-A811-4E07-946B-55DA15EE1276}" type="slidenum">
              <a:rPr lang="ru-RU"/>
              <a:pPr/>
              <a:t>‹#›</a:t>
            </a:fld>
            <a:endParaRPr lang="ru-RU" dirty="0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33797" name="navigation8" descr="ujkm,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  <p:grpSp>
        <p:nvGrpSpPr>
          <p:cNvPr id="13" name="Группа 12"/>
          <p:cNvGrpSpPr/>
          <p:nvPr/>
        </p:nvGrpSpPr>
        <p:grpSpPr>
          <a:xfrm>
            <a:off x="219044" y="6505595"/>
            <a:ext cx="1479559" cy="193676"/>
            <a:chOff x="382586" y="6467496"/>
            <a:chExt cx="1479559" cy="193676"/>
          </a:xfrm>
        </p:grpSpPr>
        <p:sp>
          <p:nvSpPr>
            <p:cNvPr id="14" name="navigation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382586" y="6478588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charset="0"/>
                </a:rPr>
                <a:t>1</a:t>
              </a:r>
            </a:p>
          </p:txBody>
        </p:sp>
        <p:sp>
          <p:nvSpPr>
            <p:cNvPr id="15" name="navigation2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673101" y="6481785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b="1" dirty="0">
                  <a:solidFill>
                    <a:schemeClr val="tx1"/>
                  </a:solidFill>
                  <a:cs typeface="Arial" charset="0"/>
                </a:rPr>
                <a:t>2</a:t>
              </a:r>
              <a:endParaRPr lang="ru-RU" sz="1200" b="1" dirty="0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16" name="navigation3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928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charset="0"/>
                </a:rPr>
                <a:t>3</a:t>
              </a:r>
            </a:p>
          </p:txBody>
        </p:sp>
        <p:sp>
          <p:nvSpPr>
            <p:cNvPr id="17" name="navigation7"/>
            <p:cNvSpPr>
              <a:spLocks noChangeShapeType="1"/>
            </p:cNvSpPr>
            <p:nvPr/>
          </p:nvSpPr>
          <p:spPr bwMode="auto">
            <a:xfrm>
              <a:off x="631825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8" name="navigation6"/>
            <p:cNvSpPr>
              <a:spLocks noChangeShapeType="1"/>
            </p:cNvSpPr>
            <p:nvPr/>
          </p:nvSpPr>
          <p:spPr bwMode="auto">
            <a:xfrm>
              <a:off x="895350" y="6469063"/>
              <a:ext cx="1588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9" name="navigation7"/>
            <p:cNvSpPr>
              <a:spLocks noChangeShapeType="1"/>
            </p:cNvSpPr>
            <p:nvPr userDrawn="1"/>
          </p:nvSpPr>
          <p:spPr bwMode="auto">
            <a:xfrm>
              <a:off x="1127556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0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682758" y="6481785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6</a:t>
              </a:r>
              <a:endParaRPr lang="ru-RU" sz="1200" b="1" dirty="0"/>
            </a:p>
          </p:txBody>
        </p:sp>
        <p:sp>
          <p:nvSpPr>
            <p:cNvPr id="21" name="Rectangle 13"/>
            <p:cNvSpPr>
              <a:spLocks noChangeArrowheads="1"/>
            </p:cNvSpPr>
            <p:nvPr userDrawn="1"/>
          </p:nvSpPr>
          <p:spPr bwMode="auto">
            <a:xfrm>
              <a:off x="1173167" y="6467496"/>
              <a:ext cx="179387" cy="179387"/>
            </a:xfrm>
            <a:prstGeom prst="rect">
              <a:avLst/>
            </a:prstGeom>
            <a:solidFill>
              <a:schemeClr val="hlink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4</a:t>
              </a:r>
              <a:endParaRPr lang="ru-RU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2" name="navigation7"/>
            <p:cNvSpPr>
              <a:spLocks noChangeShapeType="1"/>
            </p:cNvSpPr>
            <p:nvPr userDrawn="1"/>
          </p:nvSpPr>
          <p:spPr bwMode="auto">
            <a:xfrm>
              <a:off x="1652547" y="6468858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3" name="navigation7"/>
            <p:cNvSpPr>
              <a:spLocks noChangeShapeType="1"/>
            </p:cNvSpPr>
            <p:nvPr userDrawn="1"/>
          </p:nvSpPr>
          <p:spPr bwMode="auto">
            <a:xfrm>
              <a:off x="1395390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4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438275" y="6478588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5</a:t>
              </a:r>
              <a:endParaRPr lang="ru-RU" sz="1200" b="1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cs typeface="Arial" charset="0"/>
              </a:defRPr>
            </a:lvl1pPr>
          </a:lstStyle>
          <a:p>
            <a:fld id="{8AD15098-A811-4E07-946B-55DA15EE1276}" type="slidenum">
              <a:rPr lang="ru-RU"/>
              <a:pPr/>
              <a:t>‹#›</a:t>
            </a:fld>
            <a:endParaRPr lang="ru-RU" dirty="0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33797" name="navigation8" descr="ujkm,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  <p:grpSp>
        <p:nvGrpSpPr>
          <p:cNvPr id="16" name="Группа 15"/>
          <p:cNvGrpSpPr/>
          <p:nvPr/>
        </p:nvGrpSpPr>
        <p:grpSpPr>
          <a:xfrm>
            <a:off x="220404" y="6510357"/>
            <a:ext cx="1473437" cy="190480"/>
            <a:chOff x="393472" y="6467495"/>
            <a:chExt cx="1473437" cy="190480"/>
          </a:xfrm>
        </p:grpSpPr>
        <p:sp>
          <p:nvSpPr>
            <p:cNvPr id="17" name="navigation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393472" y="6478588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charset="0"/>
                </a:rPr>
                <a:t>1</a:t>
              </a:r>
            </a:p>
          </p:txBody>
        </p:sp>
        <p:sp>
          <p:nvSpPr>
            <p:cNvPr id="18" name="navigation2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1687522" y="6467497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b="1" dirty="0">
                  <a:solidFill>
                    <a:schemeClr val="tx1"/>
                  </a:solidFill>
                  <a:cs typeface="Arial" charset="0"/>
                </a:rPr>
                <a:t>6</a:t>
              </a:r>
              <a:endParaRPr lang="ru-RU" sz="1200" b="1" dirty="0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19" name="navigation3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928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charset="0"/>
                </a:rPr>
                <a:t>3</a:t>
              </a:r>
            </a:p>
          </p:txBody>
        </p:sp>
        <p:sp>
          <p:nvSpPr>
            <p:cNvPr id="20" name="navigation7"/>
            <p:cNvSpPr>
              <a:spLocks noChangeShapeType="1"/>
            </p:cNvSpPr>
            <p:nvPr/>
          </p:nvSpPr>
          <p:spPr bwMode="auto">
            <a:xfrm>
              <a:off x="631825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1" name="navigation6"/>
            <p:cNvSpPr>
              <a:spLocks noChangeShapeType="1"/>
            </p:cNvSpPr>
            <p:nvPr/>
          </p:nvSpPr>
          <p:spPr bwMode="auto">
            <a:xfrm>
              <a:off x="895350" y="6469063"/>
              <a:ext cx="1588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2" name="navigation7"/>
            <p:cNvSpPr>
              <a:spLocks noChangeShapeType="1"/>
            </p:cNvSpPr>
            <p:nvPr userDrawn="1"/>
          </p:nvSpPr>
          <p:spPr bwMode="auto">
            <a:xfrm>
              <a:off x="1149328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3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182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1200" b="1" dirty="0"/>
                <a:t>4</a:t>
              </a:r>
            </a:p>
          </p:txBody>
        </p:sp>
        <p:sp>
          <p:nvSpPr>
            <p:cNvPr id="24" name="Rectangle 13"/>
            <p:cNvSpPr>
              <a:spLocks noChangeArrowheads="1"/>
            </p:cNvSpPr>
            <p:nvPr userDrawn="1"/>
          </p:nvSpPr>
          <p:spPr bwMode="auto">
            <a:xfrm>
              <a:off x="1425582" y="6467497"/>
              <a:ext cx="179387" cy="179387"/>
            </a:xfrm>
            <a:prstGeom prst="rect">
              <a:avLst/>
            </a:prstGeom>
            <a:solidFill>
              <a:schemeClr val="hlink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5</a:t>
              </a:r>
              <a:endParaRPr lang="ru-RU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navigation7"/>
            <p:cNvSpPr>
              <a:spLocks noChangeShapeType="1"/>
            </p:cNvSpPr>
            <p:nvPr userDrawn="1"/>
          </p:nvSpPr>
          <p:spPr bwMode="auto">
            <a:xfrm>
              <a:off x="1652547" y="6468858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6" name="navigation7"/>
            <p:cNvSpPr>
              <a:spLocks noChangeShapeType="1"/>
            </p:cNvSpPr>
            <p:nvPr userDrawn="1"/>
          </p:nvSpPr>
          <p:spPr bwMode="auto">
            <a:xfrm>
              <a:off x="1395390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7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73102" y="6467495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2</a:t>
              </a:r>
              <a:endParaRPr lang="ru-RU" sz="1200" b="1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cs typeface="Arial" charset="0"/>
              </a:defRPr>
            </a:lvl1pPr>
          </a:lstStyle>
          <a:p>
            <a:fld id="{8AD15098-A811-4E07-946B-55DA15EE1276}" type="slidenum">
              <a:rPr lang="ru-RU"/>
              <a:pPr/>
              <a:t>‹#›</a:t>
            </a:fld>
            <a:endParaRPr lang="ru-RU" dirty="0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33797" name="navigation8" descr="ujkm,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  <p:grpSp>
        <p:nvGrpSpPr>
          <p:cNvPr id="18" name="Группа 17"/>
          <p:cNvGrpSpPr/>
          <p:nvPr/>
        </p:nvGrpSpPr>
        <p:grpSpPr>
          <a:xfrm>
            <a:off x="260122" y="6496072"/>
            <a:ext cx="1506747" cy="190478"/>
            <a:chOff x="393472" y="6467497"/>
            <a:chExt cx="1506747" cy="190478"/>
          </a:xfrm>
        </p:grpSpPr>
        <p:sp>
          <p:nvSpPr>
            <p:cNvPr id="33798" name="navigation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393472" y="6478588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charset="0"/>
                </a:rPr>
                <a:t>1</a:t>
              </a:r>
            </a:p>
          </p:txBody>
        </p:sp>
        <p:sp>
          <p:nvSpPr>
            <p:cNvPr id="33799" name="navigation2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674688" y="6478588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b="1" dirty="0">
                  <a:solidFill>
                    <a:schemeClr val="tx1"/>
                  </a:solidFill>
                  <a:cs typeface="Arial" charset="0"/>
                </a:rPr>
                <a:t>2</a:t>
              </a:r>
              <a:endParaRPr lang="ru-RU" sz="1200" b="1" dirty="0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33800" name="navigation3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928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charset="0"/>
                </a:rPr>
                <a:t>3</a:t>
              </a:r>
            </a:p>
          </p:txBody>
        </p:sp>
        <p:sp>
          <p:nvSpPr>
            <p:cNvPr id="33801" name="navigation7"/>
            <p:cNvSpPr>
              <a:spLocks noChangeShapeType="1"/>
            </p:cNvSpPr>
            <p:nvPr/>
          </p:nvSpPr>
          <p:spPr bwMode="auto">
            <a:xfrm>
              <a:off x="631825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33802" name="navigation6"/>
            <p:cNvSpPr>
              <a:spLocks noChangeShapeType="1"/>
            </p:cNvSpPr>
            <p:nvPr/>
          </p:nvSpPr>
          <p:spPr bwMode="auto">
            <a:xfrm>
              <a:off x="895350" y="6469063"/>
              <a:ext cx="1588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2" name="navigation7"/>
            <p:cNvSpPr>
              <a:spLocks noChangeShapeType="1"/>
            </p:cNvSpPr>
            <p:nvPr userDrawn="1"/>
          </p:nvSpPr>
          <p:spPr bwMode="auto">
            <a:xfrm>
              <a:off x="1149328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3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182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1200" b="1" dirty="0"/>
                <a:t>4</a:t>
              </a:r>
            </a:p>
          </p:txBody>
        </p:sp>
        <p:sp>
          <p:nvSpPr>
            <p:cNvPr id="14" name="Rectangle 13"/>
            <p:cNvSpPr>
              <a:spLocks noChangeArrowheads="1"/>
            </p:cNvSpPr>
            <p:nvPr userDrawn="1"/>
          </p:nvSpPr>
          <p:spPr bwMode="auto">
            <a:xfrm>
              <a:off x="1720832" y="6469063"/>
              <a:ext cx="179387" cy="179387"/>
            </a:xfrm>
            <a:prstGeom prst="rect">
              <a:avLst/>
            </a:prstGeom>
            <a:solidFill>
              <a:schemeClr val="hlink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6</a:t>
              </a:r>
              <a:endParaRPr lang="ru-RU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navigation7"/>
            <p:cNvSpPr>
              <a:spLocks noChangeShapeType="1"/>
            </p:cNvSpPr>
            <p:nvPr userDrawn="1"/>
          </p:nvSpPr>
          <p:spPr bwMode="auto">
            <a:xfrm>
              <a:off x="1652547" y="6468858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6" name="navigation7"/>
            <p:cNvSpPr>
              <a:spLocks noChangeShapeType="1"/>
            </p:cNvSpPr>
            <p:nvPr userDrawn="1"/>
          </p:nvSpPr>
          <p:spPr bwMode="auto">
            <a:xfrm>
              <a:off x="1395390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7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438275" y="6478588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5</a:t>
              </a:r>
              <a:endParaRPr lang="ru-RU" sz="1200" b="1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fld id="{39C25FF4-21E9-41B0-81DE-DEE261383BF1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00549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5.xml"/><Relationship Id="rId5" Type="http://schemas.openxmlformats.org/officeDocument/2006/relationships/image" Target="../media/image33.png"/><Relationship Id="rId4" Type="http://schemas.openxmlformats.org/officeDocument/2006/relationships/image" Target="../media/image32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5.xml"/><Relationship Id="rId4" Type="http://schemas.openxmlformats.org/officeDocument/2006/relationships/image" Target="../media/image3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5.xml"/><Relationship Id="rId5" Type="http://schemas.openxmlformats.org/officeDocument/2006/relationships/image" Target="../media/image36.png"/><Relationship Id="rId4" Type="http://schemas.openxmlformats.org/officeDocument/2006/relationships/image" Target="../media/image35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5.xml"/><Relationship Id="rId4" Type="http://schemas.openxmlformats.org/officeDocument/2006/relationships/image" Target="../media/image3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5.xml"/><Relationship Id="rId4" Type="http://schemas.openxmlformats.org/officeDocument/2006/relationships/image" Target="../media/image3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5.xml"/><Relationship Id="rId4" Type="http://schemas.openxmlformats.org/officeDocument/2006/relationships/image" Target="../media/image3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5.xml"/><Relationship Id="rId5" Type="http://schemas.openxmlformats.org/officeDocument/2006/relationships/image" Target="../media/image36.png"/><Relationship Id="rId4" Type="http://schemas.openxmlformats.org/officeDocument/2006/relationships/image" Target="../media/image35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5.xml"/><Relationship Id="rId4" Type="http://schemas.openxmlformats.org/officeDocument/2006/relationships/image" Target="../media/image3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15.xml"/><Relationship Id="rId6" Type="http://schemas.openxmlformats.org/officeDocument/2006/relationships/image" Target="../media/image38.jp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b--sw3tSuYwFh9d4syvsTVb" hidden="1"/>
          <p:cNvSpPr>
            <a:spLocks noChangeArrowheads="1"/>
          </p:cNvSpPr>
          <p:nvPr/>
        </p:nvSpPr>
        <p:spPr bwMode="auto">
          <a:xfrm>
            <a:off x="63500" y="6731002"/>
            <a:ext cx="63500" cy="63500"/>
          </a:xfrm>
          <a:prstGeom prst="ellipse">
            <a:avLst/>
          </a:prstGeom>
          <a:solidFill>
            <a:srgbClr val="FF0000"/>
          </a:solidFill>
          <a:ln w="19050">
            <a:solidFill>
              <a:srgbClr val="0000FF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ru-RU" altLang="ru-RU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642910" y="2357430"/>
            <a:ext cx="7929618" cy="357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30000"/>
              </a:lnSpc>
            </a:pP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</a:rPr>
              <a:t>ОКУ «Центр занятости населения города Курска и Курского района» </a:t>
            </a:r>
            <a:endParaRPr lang="ru-RU" sz="2400" b="1" dirty="0">
              <a:solidFill>
                <a:schemeClr val="accent1">
                  <a:lumMod val="75000"/>
                </a:schemeClr>
              </a:solidFill>
            </a:endParaRPr>
          </a:p>
          <a:p>
            <a:pPr algn="ctr" eaLnBrk="1" hangingPunct="1">
              <a:lnSpc>
                <a:spcPct val="130000"/>
              </a:lnSpc>
            </a:pP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</a:rPr>
              <a:t>Проект «Эффективный регион» </a:t>
            </a:r>
            <a:endParaRPr lang="ru-RU" sz="24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286248" y="6286520"/>
            <a:ext cx="99803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2021 </a:t>
            </a:r>
            <a:r>
              <a:rPr lang="ru-RU" sz="1600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26B11681-300F-40A9-867C-7300614A7EB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240" y="161019"/>
            <a:ext cx="1728192" cy="2003839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1720" y="1829205"/>
            <a:ext cx="4988580" cy="1254988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9840" y="526702"/>
            <a:ext cx="1638156" cy="1638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55890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Прямоугольник 4"/>
          <p:cNvSpPr/>
          <p:nvPr/>
        </p:nvSpPr>
        <p:spPr bwMode="auto">
          <a:xfrm>
            <a:off x="40945" y="0"/>
            <a:ext cx="1043608" cy="8808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" name="Прямоугольник 2"/>
          <p:cNvSpPr/>
          <p:nvPr/>
        </p:nvSpPr>
        <p:spPr bwMode="auto">
          <a:xfrm>
            <a:off x="288922" y="972562"/>
            <a:ext cx="4145575" cy="2232248"/>
          </a:xfrm>
          <a:prstGeom prst="rect">
            <a:avLst/>
          </a:prstGeom>
          <a:solidFill>
            <a:schemeClr val="bg1"/>
          </a:solidFill>
          <a:ln w="12700">
            <a:solidFill>
              <a:srgbClr val="2E658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sz="1300" kern="0">
              <a:solidFill>
                <a:srgbClr val="003274">
                  <a:lumMod val="7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6" name="Прямоугольник 17"/>
          <p:cNvSpPr/>
          <p:nvPr/>
        </p:nvSpPr>
        <p:spPr bwMode="auto">
          <a:xfrm>
            <a:off x="288922" y="3394108"/>
            <a:ext cx="4140202" cy="2754475"/>
          </a:xfrm>
          <a:prstGeom prst="rect">
            <a:avLst/>
          </a:prstGeom>
          <a:solidFill>
            <a:schemeClr val="bg1"/>
          </a:solidFill>
          <a:ln w="12700">
            <a:solidFill>
              <a:srgbClr val="2E658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sz="1300" kern="0">
              <a:solidFill>
                <a:srgbClr val="003274">
                  <a:lumMod val="7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7" name="Прямоугольник 21"/>
          <p:cNvSpPr/>
          <p:nvPr/>
        </p:nvSpPr>
        <p:spPr bwMode="auto">
          <a:xfrm>
            <a:off x="4528068" y="971686"/>
            <a:ext cx="4293160" cy="2232248"/>
          </a:xfrm>
          <a:prstGeom prst="rect">
            <a:avLst/>
          </a:prstGeom>
          <a:solidFill>
            <a:schemeClr val="bg1"/>
          </a:solidFill>
          <a:ln w="12700">
            <a:solidFill>
              <a:srgbClr val="2E658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pPr algn="just" fontAlgn="auto">
              <a:spcBef>
                <a:spcPts val="0"/>
              </a:spcBef>
              <a:spcAft>
                <a:spcPts val="0"/>
              </a:spcAft>
            </a:pPr>
            <a:endParaRPr lang="ru-RU" sz="10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</a:pPr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ительный </a:t>
            </a:r>
            <a:r>
              <a:rPr lang="ru-RU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цесс оформления и выдачи справок заявителю</a:t>
            </a:r>
          </a:p>
        </p:txBody>
      </p:sp>
      <p:sp>
        <p:nvSpPr>
          <p:cNvPr id="8" name="Прямоугольник 22"/>
          <p:cNvSpPr/>
          <p:nvPr/>
        </p:nvSpPr>
        <p:spPr bwMode="auto">
          <a:xfrm>
            <a:off x="4567004" y="3394107"/>
            <a:ext cx="4293160" cy="2754475"/>
          </a:xfrm>
          <a:prstGeom prst="rect">
            <a:avLst/>
          </a:prstGeom>
          <a:solidFill>
            <a:schemeClr val="bg1"/>
          </a:solidFill>
          <a:ln w="12700">
            <a:solidFill>
              <a:srgbClr val="2E658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sz="1300" kern="0">
              <a:solidFill>
                <a:srgbClr val="003274">
                  <a:lumMod val="7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11" name="TextBox 19"/>
          <p:cNvSpPr>
            <a:spLocks/>
          </p:cNvSpPr>
          <p:nvPr/>
        </p:nvSpPr>
        <p:spPr bwMode="auto">
          <a:xfrm>
            <a:off x="4563866" y="3428999"/>
            <a:ext cx="42338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800" b="1" u="sng">
                <a:solidFill>
                  <a:srgbClr val="3E87BD">
                    <a:lumMod val="75000"/>
                  </a:srgbClr>
                </a:solidFill>
              </a:defRPr>
            </a:lvl1pPr>
          </a:lstStyle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u="none" dirty="0">
                <a:solidFill>
                  <a:srgbClr val="2E658E"/>
                </a:solidFill>
                <a:latin typeface="Arial"/>
                <a:cs typeface="Arial"/>
              </a:rPr>
              <a:t>4</a:t>
            </a:r>
            <a:r>
              <a:rPr lang="ru-RU" sz="1000" u="none" dirty="0">
                <a:solidFill>
                  <a:srgbClr val="2E658E"/>
                </a:solidFill>
                <a:latin typeface="Arial"/>
                <a:cs typeface="Arial"/>
              </a:rPr>
              <a:t>. </a:t>
            </a:r>
            <a:r>
              <a:rPr lang="ru-RU" sz="1000" dirty="0">
                <a:solidFill>
                  <a:srgbClr val="2E658E"/>
                </a:solidFill>
                <a:latin typeface="Arial"/>
                <a:cs typeface="Arial"/>
              </a:rPr>
              <a:t>Ключевые события (КС) </a:t>
            </a:r>
            <a:endParaRPr dirty="0">
              <a:solidFill>
                <a:srgbClr val="2E658E"/>
              </a:solidFill>
            </a:endParaRPr>
          </a:p>
        </p:txBody>
      </p:sp>
      <p:sp>
        <p:nvSpPr>
          <p:cNvPr id="12" name="TextBox 20"/>
          <p:cNvSpPr>
            <a:spLocks/>
          </p:cNvSpPr>
          <p:nvPr/>
        </p:nvSpPr>
        <p:spPr bwMode="auto">
          <a:xfrm>
            <a:off x="323528" y="3429000"/>
            <a:ext cx="410873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2E658E"/>
                </a:solidFill>
                <a:latin typeface="Arial"/>
                <a:cs typeface="Arial"/>
              </a:rPr>
              <a:t>3</a:t>
            </a:r>
            <a:r>
              <a:rPr lang="ru-RU" sz="1000" dirty="0">
                <a:solidFill>
                  <a:srgbClr val="2E658E"/>
                </a:solidFill>
                <a:latin typeface="Arial"/>
                <a:cs typeface="Arial"/>
              </a:rPr>
              <a:t>. </a:t>
            </a:r>
            <a:r>
              <a:rPr lang="ru-RU" sz="1000" u="sng" dirty="0">
                <a:solidFill>
                  <a:srgbClr val="2E658E"/>
                </a:solidFill>
                <a:latin typeface="Arial"/>
                <a:cs typeface="Arial"/>
              </a:rPr>
              <a:t>Цели и плановый эффект</a:t>
            </a:r>
            <a:endParaRPr dirty="0">
              <a:solidFill>
                <a:srgbClr val="2E658E"/>
              </a:solidFill>
            </a:endParaRPr>
          </a:p>
        </p:txBody>
      </p:sp>
      <p:sp>
        <p:nvSpPr>
          <p:cNvPr id="13" name="TextBox 16"/>
          <p:cNvSpPr>
            <a:spLocks/>
          </p:cNvSpPr>
          <p:nvPr/>
        </p:nvSpPr>
        <p:spPr bwMode="auto">
          <a:xfrm>
            <a:off x="4540411" y="1020443"/>
            <a:ext cx="428081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300" b="1" u="sng">
                <a:solidFill>
                  <a:srgbClr val="003274">
                    <a:lumMod val="75000"/>
                  </a:srgbClr>
                </a:solidFill>
              </a:defRPr>
            </a:lvl1pPr>
          </a:lstStyle>
          <a:p>
            <a:pPr>
              <a:defRPr/>
            </a:pPr>
            <a:r>
              <a:rPr lang="en-US" sz="1000" u="none" dirty="0">
                <a:solidFill>
                  <a:srgbClr val="2E658E"/>
                </a:solidFill>
                <a:latin typeface="Arial"/>
                <a:cs typeface="Arial"/>
              </a:rPr>
              <a:t>2</a:t>
            </a:r>
            <a:r>
              <a:rPr lang="ru-RU" sz="1000" u="none" dirty="0">
                <a:solidFill>
                  <a:srgbClr val="2E658E"/>
                </a:solidFill>
                <a:latin typeface="Arial"/>
                <a:cs typeface="Arial"/>
              </a:rPr>
              <a:t>. </a:t>
            </a:r>
            <a:r>
              <a:rPr lang="ru-RU" sz="1000" dirty="0">
                <a:solidFill>
                  <a:srgbClr val="2E658E"/>
                </a:solidFill>
                <a:latin typeface="Arial"/>
                <a:cs typeface="Arial"/>
              </a:rPr>
              <a:t>Обоснование выбора</a:t>
            </a:r>
            <a:endParaRPr dirty="0">
              <a:solidFill>
                <a:srgbClr val="2E658E"/>
              </a:solidFill>
            </a:endParaRPr>
          </a:p>
        </p:txBody>
      </p:sp>
      <p:sp>
        <p:nvSpPr>
          <p:cNvPr id="14" name="TextBox 23"/>
          <p:cNvSpPr>
            <a:spLocks/>
          </p:cNvSpPr>
          <p:nvPr/>
        </p:nvSpPr>
        <p:spPr bwMode="auto">
          <a:xfrm>
            <a:off x="255889" y="1025743"/>
            <a:ext cx="42116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300" b="1" u="sng">
                <a:solidFill>
                  <a:srgbClr val="003274">
                    <a:lumMod val="75000"/>
                  </a:srgbClr>
                </a:solidFill>
              </a:defRPr>
            </a:lvl1pPr>
          </a:lstStyle>
          <a:p>
            <a:pPr>
              <a:defRPr/>
            </a:pPr>
            <a:r>
              <a:rPr lang="ru-RU" sz="1000" u="none" dirty="0">
                <a:solidFill>
                  <a:srgbClr val="2E658E"/>
                </a:solidFill>
                <a:latin typeface="Arial"/>
                <a:cs typeface="Arial"/>
              </a:rPr>
              <a:t>1. </a:t>
            </a:r>
            <a:r>
              <a:rPr lang="ru-RU" sz="1000" dirty="0">
                <a:solidFill>
                  <a:srgbClr val="2E658E"/>
                </a:solidFill>
                <a:latin typeface="Arial"/>
                <a:cs typeface="Arial"/>
              </a:rPr>
              <a:t>Вовлеченные лица и рамки проекта</a:t>
            </a:r>
            <a:endParaRPr dirty="0">
              <a:solidFill>
                <a:srgbClr val="2E658E"/>
              </a:solidFill>
            </a:endParaRPr>
          </a:p>
        </p:txBody>
      </p:sp>
      <p:sp>
        <p:nvSpPr>
          <p:cNvPr id="24" name="TextBox 65">
            <a:extLst>
              <a:ext uri="{FF2B5EF4-FFF2-40B4-BE49-F238E27FC236}">
                <a16:creationId xmlns:a16="http://schemas.microsoft.com/office/drawing/2014/main" xmlns="" id="{5E6144A3-4C1A-4675-86E9-DA2F8539935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9514" y="1371017"/>
            <a:ext cx="4189875" cy="400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1" u="sng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algn="just"/>
            <a:r>
              <a:rPr lang="ru-RU" altLang="ru-RU" sz="1000" dirty="0">
                <a:solidFill>
                  <a:srgbClr val="2E658E"/>
                </a:solidFill>
                <a:cs typeface="Arial"/>
              </a:rPr>
              <a:t>Заказчик</a:t>
            </a:r>
            <a:r>
              <a:rPr lang="en-US" altLang="ru-RU" sz="1000" dirty="0">
                <a:solidFill>
                  <a:srgbClr val="2E658E"/>
                </a:solidFill>
                <a:cs typeface="Arial"/>
              </a:rPr>
              <a:t> </a:t>
            </a:r>
            <a:r>
              <a:rPr lang="ru-RU" altLang="ru-RU" sz="1000" dirty="0">
                <a:solidFill>
                  <a:srgbClr val="2E658E"/>
                </a:solidFill>
                <a:cs typeface="Arial"/>
              </a:rPr>
              <a:t>проекта</a:t>
            </a:r>
            <a:r>
              <a:rPr lang="en-US" altLang="ru-RU" sz="1000" u="none" dirty="0">
                <a:solidFill>
                  <a:srgbClr val="2E658E"/>
                </a:solidFill>
                <a:cs typeface="Arial"/>
              </a:rPr>
              <a:t>:</a:t>
            </a:r>
            <a:r>
              <a:rPr lang="ru-RU" altLang="ru-RU" sz="1000" u="none" dirty="0">
                <a:solidFill>
                  <a:srgbClr val="2E658E"/>
                </a:solidFill>
                <a:cs typeface="Arial"/>
              </a:rPr>
              <a:t> </a:t>
            </a:r>
            <a:r>
              <a:rPr lang="ru-RU" altLang="ru-RU" sz="1000" b="0" u="non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КУ «Центр занятости населения по городу Курску и Курскому району» </a:t>
            </a:r>
          </a:p>
        </p:txBody>
      </p:sp>
      <p:sp>
        <p:nvSpPr>
          <p:cNvPr id="25" name="TextBox 65">
            <a:extLst>
              <a:ext uri="{FF2B5EF4-FFF2-40B4-BE49-F238E27FC236}">
                <a16:creationId xmlns:a16="http://schemas.microsoft.com/office/drawing/2014/main" xmlns="" id="{FA4E796A-DD8F-4121-B0BD-4B8C82F539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3875" y="2495980"/>
            <a:ext cx="4189875" cy="400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800" b="1" u="sng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algn="just"/>
            <a:r>
              <a:rPr lang="ru-RU" altLang="ru-RU" sz="1000" dirty="0">
                <a:solidFill>
                  <a:srgbClr val="2E658E"/>
                </a:solidFill>
                <a:cs typeface="Arial"/>
              </a:rPr>
              <a:t>Команда проекта</a:t>
            </a:r>
            <a:r>
              <a:rPr lang="ru-RU" altLang="ru-RU" sz="1000" u="none" dirty="0">
                <a:solidFill>
                  <a:srgbClr val="2E658E"/>
                </a:solidFill>
                <a:cs typeface="Arial"/>
              </a:rPr>
              <a:t>: </a:t>
            </a:r>
            <a:r>
              <a:rPr lang="ru-RU" altLang="ru-RU" sz="1000" b="0" u="none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вчинникова</a:t>
            </a:r>
            <a:r>
              <a:rPr lang="ru-RU" altLang="ru-RU" sz="1000" b="0" u="non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.А., Перелыгина Е.Ю., </a:t>
            </a:r>
            <a:r>
              <a:rPr lang="ru-RU" altLang="ru-RU" sz="1000" b="0" u="none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етренко А.А.</a:t>
            </a:r>
            <a:endParaRPr lang="ru-RU" altLang="ru-RU" sz="1000" b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65">
            <a:extLst>
              <a:ext uri="{FF2B5EF4-FFF2-40B4-BE49-F238E27FC236}">
                <a16:creationId xmlns:a16="http://schemas.microsoft.com/office/drawing/2014/main" xmlns="" id="{F24D3F6E-1250-4B0B-9A36-C9F4FF1361D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0002" y="1739433"/>
            <a:ext cx="4203173" cy="400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1" u="sng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algn="just"/>
            <a:r>
              <a:rPr lang="ru-RU" altLang="ru-RU" sz="1000" u="none" dirty="0" smtClean="0">
                <a:solidFill>
                  <a:srgbClr val="2E658E"/>
                </a:solidFill>
                <a:cs typeface="Arial"/>
              </a:rPr>
              <a:t>Периметр проекта</a:t>
            </a:r>
            <a:r>
              <a:rPr lang="en-US" altLang="ru-RU" sz="1000" u="none" dirty="0" smtClean="0">
                <a:solidFill>
                  <a:srgbClr val="2E658E"/>
                </a:solidFill>
                <a:cs typeface="Arial"/>
              </a:rPr>
              <a:t>:</a:t>
            </a:r>
            <a:r>
              <a:rPr lang="ru-RU" altLang="ru-RU" sz="1000" u="none" dirty="0" smtClean="0">
                <a:solidFill>
                  <a:srgbClr val="2E658E"/>
                </a:solidFill>
                <a:cs typeface="Arial"/>
              </a:rPr>
              <a:t> </a:t>
            </a:r>
            <a:r>
              <a:rPr lang="ru-RU" altLang="ru-RU" sz="1000" b="0" u="non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КУ «Центр занятости населения по городу Курску и Курскому району» </a:t>
            </a:r>
          </a:p>
        </p:txBody>
      </p:sp>
      <p:sp>
        <p:nvSpPr>
          <p:cNvPr id="27" name="TextBox 65">
            <a:extLst>
              <a:ext uri="{FF2B5EF4-FFF2-40B4-BE49-F238E27FC236}">
                <a16:creationId xmlns:a16="http://schemas.microsoft.com/office/drawing/2014/main" xmlns="" id="{94FDB0AF-CFD2-474B-BB09-6991354EA6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3875" y="2067352"/>
            <a:ext cx="4131809" cy="400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1" u="sng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algn="just" defTabSz="896017">
              <a:defRPr/>
            </a:pPr>
            <a:r>
              <a:rPr lang="ru-RU" altLang="ru-RU" sz="1000" dirty="0">
                <a:solidFill>
                  <a:srgbClr val="2E658E"/>
                </a:solidFill>
                <a:cs typeface="Arial"/>
              </a:rPr>
              <a:t>Руководитель ПСР-проекта</a:t>
            </a:r>
            <a:r>
              <a:rPr lang="ru-RU" altLang="ru-RU" sz="1000" u="none" dirty="0">
                <a:solidFill>
                  <a:srgbClr val="2E658E"/>
                </a:solidFill>
                <a:cs typeface="Arial"/>
              </a:rPr>
              <a:t>:</a:t>
            </a:r>
            <a:r>
              <a:rPr lang="ru-RU" altLang="ru-RU" sz="1000" b="0" u="none" dirty="0">
                <a:solidFill>
                  <a:srgbClr val="2E658E"/>
                </a:solidFill>
                <a:cs typeface="Arial"/>
              </a:rPr>
              <a:t> </a:t>
            </a:r>
            <a:r>
              <a:rPr lang="ru-RU" altLang="ru-RU" sz="1000" b="0" u="non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</a:t>
            </a:r>
            <a:r>
              <a:rPr lang="ru-RU" altLang="ru-RU" sz="1000" b="0" u="none" dirty="0">
                <a:solidFill>
                  <a:schemeClr val="tx1"/>
                </a:solidFill>
              </a:rPr>
              <a:t>ректор ОКУ «Центр занятости населения по городу Курску и Курскому району» Меркушева И.С.</a:t>
            </a:r>
            <a:endParaRPr lang="ru-RU" sz="1000" b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14">
            <a:extLst>
              <a:ext uri="{FF2B5EF4-FFF2-40B4-BE49-F238E27FC236}">
                <a16:creationId xmlns:a16="http://schemas.microsoft.com/office/drawing/2014/main" xmlns="" id="{C04841B6-3103-4049-8C00-6AD9C915D5A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88163" y="3830851"/>
            <a:ext cx="4178089" cy="1508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8600" lvl="0" indent="-228600" eaLnBrk="0" hangingPunct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>
                <a:tab pos="3952875" algn="r"/>
              </a:tabLst>
            </a:pPr>
            <a:r>
              <a:rPr lang="ru-RU" sz="1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рт проекта	</a:t>
            </a:r>
            <a:r>
              <a:rPr lang="ru-RU" sz="1000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.08.2021</a:t>
            </a:r>
            <a:endParaRPr lang="ru-RU" sz="10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lvl="0" indent="-228600" eaLnBrk="0" hangingPunct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>
                <a:tab pos="3952875" algn="r"/>
              </a:tabLst>
            </a:pPr>
            <a:r>
              <a:rPr lang="ru-RU" sz="1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тирование текущего состояния </a:t>
            </a:r>
            <a:r>
              <a:rPr lang="ru-RU" sz="1000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цессов</a:t>
            </a:r>
            <a:r>
              <a:rPr lang="ru-RU" altLang="ru-RU" sz="1000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ru-RU" altLang="ru-RU" sz="1000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.08.2021</a:t>
            </a:r>
            <a:endParaRPr lang="ru-RU" altLang="ru-RU" sz="10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07963" lvl="0" indent="-207963" eaLnBrk="0" hangingPunct="0">
              <a:spcBef>
                <a:spcPct val="40000"/>
              </a:spcBef>
              <a:spcAft>
                <a:spcPct val="20000"/>
              </a:spcAft>
              <a:tabLst>
                <a:tab pos="3952875" algn="r"/>
              </a:tabLst>
            </a:pPr>
            <a:r>
              <a:rPr lang="ru-RU" altLang="ru-RU" sz="1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  Разработка целевого состояния и плана </a:t>
            </a:r>
            <a:br>
              <a:rPr lang="ru-RU" altLang="ru-RU" sz="1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оприятий:	 </a:t>
            </a:r>
            <a:r>
              <a:rPr lang="ru-RU" altLang="ru-RU" sz="1000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.08.2021 </a:t>
            </a:r>
            <a:endParaRPr lang="ru-RU" altLang="ru-RU" sz="10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hangingPunct="0">
              <a:spcBef>
                <a:spcPct val="40000"/>
              </a:spcBef>
              <a:spcAft>
                <a:spcPct val="20000"/>
              </a:spcAft>
              <a:tabLst>
                <a:tab pos="3952875" algn="r"/>
              </a:tabLst>
            </a:pPr>
            <a:r>
              <a:rPr lang="ru-RU" altLang="ru-RU" sz="1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   Проведение </a:t>
            </a:r>
            <a:r>
              <a:rPr lang="en-US" altLang="ru-RU" sz="1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ck-off</a:t>
            </a:r>
            <a:r>
              <a:rPr lang="ru-RU" altLang="ru-RU" sz="1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ru-RU" altLang="ru-RU" sz="1000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3.08.2021</a:t>
            </a:r>
            <a:endParaRPr lang="ru-RU" altLang="ru-RU" sz="10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eaLnBrk="0" hangingPunct="0">
              <a:spcBef>
                <a:spcPct val="40000"/>
              </a:spcBef>
              <a:spcAft>
                <a:spcPct val="20000"/>
              </a:spcAft>
              <a:tabLst>
                <a:tab pos="3952875" algn="r"/>
              </a:tabLst>
            </a:pPr>
            <a:r>
              <a:rPr lang="ru-RU" altLang="ru-RU" sz="1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.   Реализация мероприятий </a:t>
            </a:r>
            <a:r>
              <a:rPr lang="ru-RU" altLang="ru-RU" sz="1000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а </a:t>
            </a:r>
            <a:r>
              <a:rPr lang="ru-RU" altLang="ru-RU" sz="1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 30.11.2021</a:t>
            </a:r>
          </a:p>
          <a:p>
            <a:pPr lvl="0" eaLnBrk="0" hangingPunct="0">
              <a:spcBef>
                <a:spcPct val="40000"/>
              </a:spcBef>
              <a:spcAft>
                <a:spcPct val="20000"/>
              </a:spcAft>
              <a:tabLst>
                <a:tab pos="3952875" algn="r"/>
              </a:tabLst>
            </a:pPr>
            <a:r>
              <a:rPr lang="ru-RU" altLang="ru-RU" sz="1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.   Закрепление результатов и закрытие проекта </a:t>
            </a:r>
            <a:r>
              <a:rPr lang="en-US" altLang="ru-RU" sz="1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ru-RU" altLang="ru-RU" sz="1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.12.2021</a:t>
            </a:r>
          </a:p>
        </p:txBody>
      </p:sp>
      <p:graphicFrame>
        <p:nvGraphicFramePr>
          <p:cNvPr id="21" name="Таблица 20">
            <a:extLst>
              <a:ext uri="{FF2B5EF4-FFF2-40B4-BE49-F238E27FC236}">
                <a16:creationId xmlns:a16="http://schemas.microsoft.com/office/drawing/2014/main" xmlns="" id="{CE6DA1BC-40C8-4DC1-9B31-9BE5FAA130CF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94294" y="3830851"/>
          <a:ext cx="3929089" cy="1916176"/>
        </p:xfrm>
        <a:graphic>
          <a:graphicData uri="http://schemas.openxmlformats.org/drawingml/2006/table">
            <a:tbl>
              <a:tblPr firstRow="1" bandRow="1"/>
              <a:tblGrid>
                <a:gridCol w="2007574">
                  <a:extLst>
                    <a:ext uri="{9D8B030D-6E8A-4147-A177-3AD203B41FA5}">
                      <a16:colId xmlns:a16="http://schemas.microsoft.com/office/drawing/2014/main" xmlns="" val="2583204338"/>
                    </a:ext>
                  </a:extLst>
                </a:gridCol>
                <a:gridCol w="961702">
                  <a:extLst>
                    <a:ext uri="{9D8B030D-6E8A-4147-A177-3AD203B41FA5}">
                      <a16:colId xmlns:a16="http://schemas.microsoft.com/office/drawing/2014/main" xmlns="" val="29635232"/>
                    </a:ext>
                  </a:extLst>
                </a:gridCol>
                <a:gridCol w="959813">
                  <a:extLst>
                    <a:ext uri="{9D8B030D-6E8A-4147-A177-3AD203B41FA5}">
                      <a16:colId xmlns:a16="http://schemas.microsoft.com/office/drawing/2014/main" xmlns="" val="3384265906"/>
                    </a:ext>
                  </a:extLst>
                </a:gridCol>
              </a:tblGrid>
              <a:tr h="39986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u="non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Наименование цели</a:t>
                      </a:r>
                    </a:p>
                  </a:txBody>
                  <a:tcPr marL="93345" marR="93345" marT="4635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u="non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Текущий показатель</a:t>
                      </a:r>
                    </a:p>
                  </a:txBody>
                  <a:tcPr marL="93345" marR="93345" marT="4635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u="non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Целевой показатель</a:t>
                      </a:r>
                    </a:p>
                  </a:txBody>
                  <a:tcPr marL="93345" marR="93345" marT="4635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621752678"/>
                  </a:ext>
                </a:extLst>
              </a:tr>
              <a:tr h="540312">
                <a:tc>
                  <a:txBody>
                    <a:bodyPr/>
                    <a:lstStyle/>
                    <a:p>
                      <a:r>
                        <a:rPr lang="ru-RU" sz="10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Сокращение количества посещений заявителя (в месяц)</a:t>
                      </a:r>
                    </a:p>
                  </a:txBody>
                  <a:tcPr marL="93345" marR="93345" marT="46355" marB="46355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93345" marR="93345" marT="4762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93345" marR="93345" marT="4762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635180504"/>
                  </a:ext>
                </a:extLst>
              </a:tr>
              <a:tr h="391820">
                <a:tc>
                  <a:txBody>
                    <a:bodyPr/>
                    <a:lstStyle/>
                    <a:p>
                      <a:r>
                        <a:rPr lang="ru-RU" sz="10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Сокращение времени на подготовку и выдачу справок </a:t>
                      </a:r>
                      <a:r>
                        <a:rPr lang="ru-RU" sz="1000" kern="1200" baseline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(рабочих дней</a:t>
                      </a:r>
                      <a:r>
                        <a:rPr lang="ru-RU" sz="10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93345" marR="93345" marT="46355" marB="46355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93345" marR="93345" marT="4762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93345" marR="93345" marT="4762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91820">
                <a:tc>
                  <a:txBody>
                    <a:bodyPr/>
                    <a:lstStyle/>
                    <a:p>
                      <a:r>
                        <a:rPr lang="ru-RU" sz="10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Выдача справок на бумажном носителе (в месяц)</a:t>
                      </a:r>
                    </a:p>
                  </a:txBody>
                  <a:tcPr marL="93345" marR="93345" marT="46355" marB="46355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60</a:t>
                      </a:r>
                    </a:p>
                  </a:txBody>
                  <a:tcPr marL="93345" marR="93345" marT="4762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5</a:t>
                      </a:r>
                    </a:p>
                  </a:txBody>
                  <a:tcPr marL="93345" marR="93345" marT="4762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277088173"/>
                  </a:ext>
                </a:extLst>
              </a:tr>
            </a:tbl>
          </a:graphicData>
        </a:graphic>
      </p:graphicFrame>
      <p:pic>
        <p:nvPicPr>
          <p:cNvPr id="23" name="Рисунок 22">
            <a:extLst>
              <a:ext uri="{FF2B5EF4-FFF2-40B4-BE49-F238E27FC236}">
                <a16:creationId xmlns:a16="http://schemas.microsoft.com/office/drawing/2014/main" xmlns="" id="{BF7D8012-AD66-45AE-98B0-CB71F37525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7131" y="106910"/>
            <a:ext cx="608409" cy="701954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xmlns="" id="{AC903C43-722A-4051-9187-A9F202DC567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67" y="109322"/>
            <a:ext cx="692696" cy="692696"/>
          </a:xfrm>
          <a:prstGeom prst="rect">
            <a:avLst/>
          </a:prstGeom>
        </p:spPr>
      </p:pic>
      <p:sp>
        <p:nvSpPr>
          <p:cNvPr id="32" name="Rectangle 3"/>
          <p:cNvSpPr txBox="1">
            <a:spLocks noChangeArrowheads="1"/>
          </p:cNvSpPr>
          <p:nvPr/>
        </p:nvSpPr>
        <p:spPr bwMode="auto">
          <a:xfrm>
            <a:off x="931772" y="121341"/>
            <a:ext cx="6983413" cy="520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/>
          </a:bodyPr>
          <a:lstStyle>
            <a:lvl1pPr algn="l" defTabSz="685800">
              <a:lnSpc>
                <a:spcPct val="90000"/>
              </a:lnSpc>
              <a:spcBef>
                <a:spcPts val="0"/>
              </a:spcBef>
              <a:buNone/>
              <a:defRPr sz="33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ru-RU" sz="1600" b="1" dirty="0" smtClean="0">
                <a:solidFill>
                  <a:srgbClr val="2E658E"/>
                </a:solidFill>
                <a:latin typeface="Arial"/>
                <a:cs typeface="Arial"/>
              </a:rPr>
              <a:t>Проект: </a:t>
            </a:r>
            <a:r>
              <a:rPr lang="ru-RU" sz="1400" b="1" dirty="0">
                <a:solidFill>
                  <a:srgbClr val="2E658E"/>
                </a:solidFill>
                <a:latin typeface="Arial"/>
                <a:cs typeface="Arial"/>
              </a:rPr>
              <a:t>Цифровая трансформация процесса оформления и </a:t>
            </a:r>
            <a:br>
              <a:rPr lang="ru-RU" sz="1400" b="1" dirty="0">
                <a:solidFill>
                  <a:srgbClr val="2E658E"/>
                </a:solidFill>
                <a:latin typeface="Arial"/>
                <a:cs typeface="Arial"/>
              </a:rPr>
            </a:br>
            <a:r>
              <a:rPr lang="ru-RU" sz="1400" b="1" dirty="0">
                <a:solidFill>
                  <a:srgbClr val="2E658E"/>
                </a:solidFill>
                <a:latin typeface="Arial"/>
                <a:cs typeface="Arial"/>
              </a:rPr>
              <a:t>выдачи справок гражданам</a:t>
            </a:r>
            <a:endParaRPr lang="en-US" sz="1400" b="1" dirty="0">
              <a:solidFill>
                <a:srgbClr val="2E658E"/>
              </a:solidFill>
              <a:latin typeface="Arial"/>
              <a:cs typeface="Arial"/>
            </a:endParaRPr>
          </a:p>
        </p:txBody>
      </p:sp>
      <p:pic>
        <p:nvPicPr>
          <p:cNvPr id="33" name="Рисунок 3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3369698" y="6273839"/>
            <a:ext cx="2107559" cy="531552"/>
          </a:xfrm>
          <a:prstGeom prst="rect">
            <a:avLst/>
          </a:prstGeom>
        </p:spPr>
      </p:pic>
      <p:sp>
        <p:nvSpPr>
          <p:cNvPr id="15" name="Номер слайда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7133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Двойная стрелка влево/вправо 36">
            <a:extLst>
              <a:ext uri="{FF2B5EF4-FFF2-40B4-BE49-F238E27FC236}">
                <a16:creationId xmlns:a16="http://schemas.microsoft.com/office/drawing/2014/main" xmlns="" id="{F540F31D-50C7-406C-BAF4-B6C241EBEE76}"/>
              </a:ext>
            </a:extLst>
          </p:cNvPr>
          <p:cNvSpPr/>
          <p:nvPr/>
        </p:nvSpPr>
        <p:spPr>
          <a:xfrm>
            <a:off x="285720" y="5563313"/>
            <a:ext cx="8320283" cy="57600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TextBox 38"/>
          <p:cNvSpPr txBox="1"/>
          <p:nvPr/>
        </p:nvSpPr>
        <p:spPr>
          <a:xfrm>
            <a:off x="2149771" y="5666647"/>
            <a:ext cx="55446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</a:rPr>
              <a:t>Время протекания процесса  = 5 дней </a:t>
            </a:r>
            <a:endParaRPr lang="ru-RU" b="1" dirty="0">
              <a:solidFill>
                <a:schemeClr val="bg1"/>
              </a:solidFill>
            </a:endParaRPr>
          </a:p>
        </p:txBody>
      </p:sp>
      <p:cxnSp>
        <p:nvCxnSpPr>
          <p:cNvPr id="55" name="Прямая со стрелкой 54"/>
          <p:cNvCxnSpPr>
            <a:cxnSpLocks/>
            <a:stCxn id="51" idx="3"/>
          </p:cNvCxnSpPr>
          <p:nvPr/>
        </p:nvCxnSpPr>
        <p:spPr>
          <a:xfrm>
            <a:off x="6352266" y="2594807"/>
            <a:ext cx="868552" cy="35351"/>
          </a:xfrm>
          <a:prstGeom prst="straightConnector1">
            <a:avLst/>
          </a:prstGeom>
          <a:ln w="25400">
            <a:solidFill>
              <a:srgbClr val="0070C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 стрелкой 56"/>
          <p:cNvCxnSpPr>
            <a:cxnSpLocks/>
            <a:stCxn id="50" idx="3"/>
            <a:endCxn id="51" idx="1"/>
          </p:cNvCxnSpPr>
          <p:nvPr/>
        </p:nvCxnSpPr>
        <p:spPr>
          <a:xfrm flipV="1">
            <a:off x="4060676" y="2594807"/>
            <a:ext cx="893692" cy="5530"/>
          </a:xfrm>
          <a:prstGeom prst="straightConnector1">
            <a:avLst/>
          </a:prstGeom>
          <a:ln w="25400">
            <a:solidFill>
              <a:srgbClr val="0070C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 стрелкой 57"/>
          <p:cNvCxnSpPr>
            <a:cxnSpLocks/>
            <a:stCxn id="30" idx="3"/>
            <a:endCxn id="50" idx="1"/>
          </p:cNvCxnSpPr>
          <p:nvPr/>
        </p:nvCxnSpPr>
        <p:spPr>
          <a:xfrm flipV="1">
            <a:off x="1759931" y="2600337"/>
            <a:ext cx="804903" cy="409"/>
          </a:xfrm>
          <a:prstGeom prst="straightConnector1">
            <a:avLst/>
          </a:prstGeom>
          <a:ln w="25400">
            <a:solidFill>
              <a:srgbClr val="0070C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 стрелкой 59"/>
          <p:cNvCxnSpPr>
            <a:cxnSpLocks/>
          </p:cNvCxnSpPr>
          <p:nvPr/>
        </p:nvCxnSpPr>
        <p:spPr>
          <a:xfrm flipH="1" flipV="1">
            <a:off x="1488268" y="3742036"/>
            <a:ext cx="6452025" cy="9820"/>
          </a:xfrm>
          <a:prstGeom prst="straightConnector1">
            <a:avLst/>
          </a:prstGeom>
          <a:ln w="25400">
            <a:solidFill>
              <a:srgbClr val="0070C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0" name="Таблица 30">
            <a:extLst>
              <a:ext uri="{FF2B5EF4-FFF2-40B4-BE49-F238E27FC236}">
                <a16:creationId xmlns:a16="http://schemas.microsoft.com/office/drawing/2014/main" xmlns="" id="{3127511B-049F-45CA-B86A-1CA222C75D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3213974"/>
              </p:ext>
            </p:extLst>
          </p:nvPr>
        </p:nvGraphicFramePr>
        <p:xfrm>
          <a:off x="298331" y="1709746"/>
          <a:ext cx="1461600" cy="178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61600">
                  <a:extLst>
                    <a:ext uri="{9D8B030D-6E8A-4147-A177-3AD203B41FA5}">
                      <a16:colId xmlns:a16="http://schemas.microsoft.com/office/drawing/2014/main" xmlns="" val="1501851660"/>
                    </a:ext>
                  </a:extLst>
                </a:gridCol>
              </a:tblGrid>
              <a:tr h="507115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ход процесса </a:t>
                      </a:r>
                    </a:p>
                    <a:p>
                      <a:pPr algn="ctr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</a:t>
                      </a:r>
                      <a:r>
                        <a:rPr lang="ru-RU" sz="1100" kern="1200" dirty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en-US" sz="11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=</a:t>
                      </a:r>
                      <a:r>
                        <a:rPr lang="ru-RU" sz="11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 день</a:t>
                      </a:r>
                      <a:endParaRPr lang="ru-RU" sz="11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674130847"/>
                  </a:ext>
                </a:extLst>
              </a:tr>
              <a:tr h="367896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rgbClr val="00206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Гражданин</a:t>
                      </a:r>
                      <a:endParaRPr lang="ru-RU" sz="1100" kern="1200" dirty="0">
                        <a:solidFill>
                          <a:srgbClr val="00206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564306252"/>
                  </a:ext>
                </a:extLst>
              </a:tr>
              <a:tr h="906989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rgbClr val="00206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бращение за выдачей справки </a:t>
                      </a:r>
                      <a:endParaRPr lang="ru-RU" sz="1100" kern="1200" dirty="0">
                        <a:solidFill>
                          <a:srgbClr val="00206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198363404"/>
                  </a:ext>
                </a:extLst>
              </a:tr>
            </a:tbl>
          </a:graphicData>
        </a:graphic>
      </p:graphicFrame>
      <p:graphicFrame>
        <p:nvGraphicFramePr>
          <p:cNvPr id="50" name="Таблица 30">
            <a:extLst>
              <a:ext uri="{FF2B5EF4-FFF2-40B4-BE49-F238E27FC236}">
                <a16:creationId xmlns:a16="http://schemas.microsoft.com/office/drawing/2014/main" xmlns="" id="{128A42D4-46BD-4C13-859E-B755B7D2BD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4257008"/>
              </p:ext>
            </p:extLst>
          </p:nvPr>
        </p:nvGraphicFramePr>
        <p:xfrm>
          <a:off x="2564834" y="1709746"/>
          <a:ext cx="1495842" cy="17811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5842">
                  <a:extLst>
                    <a:ext uri="{9D8B030D-6E8A-4147-A177-3AD203B41FA5}">
                      <a16:colId xmlns:a16="http://schemas.microsoft.com/office/drawing/2014/main" xmlns="" val="1501851660"/>
                    </a:ext>
                  </a:extLst>
                </a:gridCol>
              </a:tblGrid>
              <a:tr h="462005">
                <a:tc>
                  <a:txBody>
                    <a:bodyPr/>
                    <a:lstStyle/>
                    <a:p>
                      <a:pPr algn="ctr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</a:t>
                      </a:r>
                      <a:r>
                        <a:rPr lang="ru-RU" sz="1100" kern="1200" dirty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en-US" sz="11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=</a:t>
                      </a:r>
                      <a:r>
                        <a:rPr lang="ru-RU" sz="1100" kern="12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1 день </a:t>
                      </a:r>
                      <a:endParaRPr lang="ru-RU" sz="11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674130847"/>
                  </a:ext>
                </a:extLst>
              </a:tr>
              <a:tr h="383100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rgbClr val="00206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ЦЗН </a:t>
                      </a:r>
                      <a:endParaRPr lang="ru-RU" sz="1100" kern="1200" dirty="0">
                        <a:solidFill>
                          <a:srgbClr val="00206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564306252"/>
                  </a:ext>
                </a:extLst>
              </a:tr>
              <a:tr h="936078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rgbClr val="00206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жидание обработки инспектором, подготовка справки, согласование </a:t>
                      </a:r>
                      <a:endParaRPr lang="ru-RU" sz="1100" kern="1200" dirty="0">
                        <a:solidFill>
                          <a:srgbClr val="00206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198363404"/>
                  </a:ext>
                </a:extLst>
              </a:tr>
            </a:tbl>
          </a:graphicData>
        </a:graphic>
      </p:graphicFrame>
      <p:graphicFrame>
        <p:nvGraphicFramePr>
          <p:cNvPr id="51" name="Таблица 30">
            <a:extLst>
              <a:ext uri="{FF2B5EF4-FFF2-40B4-BE49-F238E27FC236}">
                <a16:creationId xmlns:a16="http://schemas.microsoft.com/office/drawing/2014/main" xmlns="" id="{5F0D89FB-851C-4C94-B8BF-8880F64399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4279381"/>
              </p:ext>
            </p:extLst>
          </p:nvPr>
        </p:nvGraphicFramePr>
        <p:xfrm>
          <a:off x="4954368" y="1668456"/>
          <a:ext cx="1397898" cy="18527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97898">
                  <a:extLst>
                    <a:ext uri="{9D8B030D-6E8A-4147-A177-3AD203B41FA5}">
                      <a16:colId xmlns:a16="http://schemas.microsoft.com/office/drawing/2014/main" xmlns="" val="1501851660"/>
                    </a:ext>
                  </a:extLst>
                </a:gridCol>
              </a:tblGrid>
              <a:tr h="396922">
                <a:tc>
                  <a:txBody>
                    <a:bodyPr/>
                    <a:lstStyle/>
                    <a:p>
                      <a:pPr algn="ctr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</a:t>
                      </a:r>
                      <a:r>
                        <a:rPr lang="ru-RU" sz="1100" kern="1200" dirty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en-US" sz="11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=</a:t>
                      </a:r>
                      <a:r>
                        <a:rPr lang="ru-RU" sz="11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 день </a:t>
                      </a:r>
                      <a:endParaRPr lang="ru-RU" sz="11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674130847"/>
                  </a:ext>
                </a:extLst>
              </a:tr>
              <a:tr h="500186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rgbClr val="00206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ЦЗН</a:t>
                      </a:r>
                      <a:endParaRPr lang="ru-RU" sz="1100" kern="1200" dirty="0">
                        <a:solidFill>
                          <a:srgbClr val="00206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564306252"/>
                  </a:ext>
                </a:extLst>
              </a:tr>
              <a:tr h="955594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Доставка на подписание,</a:t>
                      </a:r>
                      <a:r>
                        <a:rPr lang="ru-RU" sz="1100" baseline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 подписание справки </a:t>
                      </a:r>
                      <a:r>
                        <a:rPr lang="ru-RU" sz="110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endParaRPr lang="ru-RU" sz="1100" dirty="0">
                        <a:solidFill>
                          <a:srgbClr val="00206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198363404"/>
                  </a:ext>
                </a:extLst>
              </a:tr>
            </a:tbl>
          </a:graphicData>
        </a:graphic>
      </p:graphicFrame>
      <p:graphicFrame>
        <p:nvGraphicFramePr>
          <p:cNvPr id="54" name="Таблица 30">
            <a:extLst>
              <a:ext uri="{FF2B5EF4-FFF2-40B4-BE49-F238E27FC236}">
                <a16:creationId xmlns:a16="http://schemas.microsoft.com/office/drawing/2014/main" xmlns="" id="{A168D54A-D1B8-482C-A0AD-0247BA74B2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6269091"/>
              </p:ext>
            </p:extLst>
          </p:nvPr>
        </p:nvGraphicFramePr>
        <p:xfrm>
          <a:off x="7262037" y="1702927"/>
          <a:ext cx="1461600" cy="16859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61600">
                  <a:extLst>
                    <a:ext uri="{9D8B030D-6E8A-4147-A177-3AD203B41FA5}">
                      <a16:colId xmlns:a16="http://schemas.microsoft.com/office/drawing/2014/main" xmlns="" val="1501851660"/>
                    </a:ext>
                  </a:extLst>
                </a:gridCol>
              </a:tblGrid>
              <a:tr h="419876">
                <a:tc>
                  <a:txBody>
                    <a:bodyPr/>
                    <a:lstStyle/>
                    <a:p>
                      <a:pPr algn="ctr"/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</a:t>
                      </a:r>
                      <a:r>
                        <a:rPr lang="ru-RU" sz="1100" kern="1200" dirty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en-US" sz="11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=</a:t>
                      </a:r>
                      <a:r>
                        <a:rPr lang="ru-RU" sz="11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  день </a:t>
                      </a:r>
                      <a:endParaRPr lang="ru-RU" sz="11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674130847"/>
                  </a:ext>
                </a:extLst>
              </a:tr>
              <a:tr h="504056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rgbClr val="00206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ЦЗН </a:t>
                      </a:r>
                    </a:p>
                    <a:p>
                      <a:pPr algn="ctr"/>
                      <a:endParaRPr lang="ru-RU" sz="1100" kern="1200" dirty="0">
                        <a:solidFill>
                          <a:srgbClr val="00206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564306252"/>
                  </a:ext>
                </a:extLst>
              </a:tr>
              <a:tr h="752607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Доставка подписанной справки </a:t>
                      </a:r>
                    </a:p>
                    <a:p>
                      <a:pPr algn="ctr"/>
                      <a:endParaRPr lang="ru-RU" sz="1100" dirty="0">
                        <a:solidFill>
                          <a:srgbClr val="00206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198363404"/>
                  </a:ext>
                </a:extLst>
              </a:tr>
            </a:tbl>
          </a:graphicData>
        </a:graphic>
      </p:graphicFrame>
      <p:graphicFrame>
        <p:nvGraphicFramePr>
          <p:cNvPr id="63" name="Таблица 30">
            <a:extLst>
              <a:ext uri="{FF2B5EF4-FFF2-40B4-BE49-F238E27FC236}">
                <a16:creationId xmlns:a16="http://schemas.microsoft.com/office/drawing/2014/main" xmlns="" id="{592E64BC-B6A1-43F3-B507-64B06AFE44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3167558"/>
              </p:ext>
            </p:extLst>
          </p:nvPr>
        </p:nvGraphicFramePr>
        <p:xfrm>
          <a:off x="525321" y="4199714"/>
          <a:ext cx="1429749" cy="13635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749">
                  <a:extLst>
                    <a:ext uri="{9D8B030D-6E8A-4147-A177-3AD203B41FA5}">
                      <a16:colId xmlns:a16="http://schemas.microsoft.com/office/drawing/2014/main" xmlns="" val="1501851660"/>
                    </a:ext>
                  </a:extLst>
                </a:gridCol>
              </a:tblGrid>
              <a:tr h="434010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ыход процесса</a:t>
                      </a:r>
                    </a:p>
                    <a:p>
                      <a:pPr algn="ctr"/>
                      <a:r>
                        <a:rPr lang="ru-RU" sz="1100" kern="1200" dirty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en-US" sz="1100" kern="1200" dirty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</a:t>
                      </a:r>
                      <a:r>
                        <a:rPr lang="ru-RU" sz="1100" kern="1200" dirty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en-US" sz="11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=</a:t>
                      </a:r>
                      <a:r>
                        <a:rPr lang="ru-RU" sz="11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 день</a:t>
                      </a:r>
                      <a:endParaRPr lang="ru-RU" sz="11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674130847"/>
                  </a:ext>
                </a:extLst>
              </a:tr>
              <a:tr h="405516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rgbClr val="00206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Гражданин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564306252"/>
                  </a:ext>
                </a:extLst>
              </a:tr>
              <a:tr h="524073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Получение справки</a:t>
                      </a:r>
                      <a:endParaRPr lang="ru-RU" sz="1100" dirty="0">
                        <a:solidFill>
                          <a:srgbClr val="00206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198363404"/>
                  </a:ext>
                </a:extLst>
              </a:tr>
            </a:tbl>
          </a:graphicData>
        </a:graphic>
      </p:graphicFrame>
      <p:sp>
        <p:nvSpPr>
          <p:cNvPr id="44" name="Взрыв: 14 точек 2">
            <a:extLst>
              <a:ext uri="{FF2B5EF4-FFF2-40B4-BE49-F238E27FC236}">
                <a16:creationId xmlns:a16="http://schemas.microsoft.com/office/drawing/2014/main" xmlns="" id="{ED8DC02A-BD84-451F-9F65-8B3841B3490D}"/>
              </a:ext>
            </a:extLst>
          </p:cNvPr>
          <p:cNvSpPr/>
          <p:nvPr/>
        </p:nvSpPr>
        <p:spPr>
          <a:xfrm>
            <a:off x="1581799" y="2548146"/>
            <a:ext cx="1181046" cy="820338"/>
          </a:xfrm>
          <a:prstGeom prst="irregularSeal2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kern="200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1</a:t>
            </a:r>
          </a:p>
        </p:txBody>
      </p:sp>
      <p:sp>
        <p:nvSpPr>
          <p:cNvPr id="86" name="Взрыв: 14 точек 2">
            <a:extLst>
              <a:ext uri="{FF2B5EF4-FFF2-40B4-BE49-F238E27FC236}">
                <a16:creationId xmlns:a16="http://schemas.microsoft.com/office/drawing/2014/main" xmlns="" id="{ED8DC02A-BD84-451F-9F65-8B3841B3490D}"/>
              </a:ext>
            </a:extLst>
          </p:cNvPr>
          <p:cNvSpPr/>
          <p:nvPr/>
        </p:nvSpPr>
        <p:spPr>
          <a:xfrm>
            <a:off x="3868027" y="2527497"/>
            <a:ext cx="1181046" cy="820338"/>
          </a:xfrm>
          <a:prstGeom prst="irregularSeal2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kern="200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2</a:t>
            </a:r>
          </a:p>
        </p:txBody>
      </p:sp>
      <p:sp>
        <p:nvSpPr>
          <p:cNvPr id="88" name="Взрыв: 14 точек 2">
            <a:extLst>
              <a:ext uri="{FF2B5EF4-FFF2-40B4-BE49-F238E27FC236}">
                <a16:creationId xmlns:a16="http://schemas.microsoft.com/office/drawing/2014/main" xmlns="" id="{ED8DC02A-BD84-451F-9F65-8B3841B3490D}"/>
              </a:ext>
            </a:extLst>
          </p:cNvPr>
          <p:cNvSpPr/>
          <p:nvPr/>
        </p:nvSpPr>
        <p:spPr>
          <a:xfrm>
            <a:off x="6154125" y="2583461"/>
            <a:ext cx="1181046" cy="820338"/>
          </a:xfrm>
          <a:prstGeom prst="irregularSeal2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kern="200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3</a:t>
            </a:r>
          </a:p>
        </p:txBody>
      </p:sp>
      <p:sp>
        <p:nvSpPr>
          <p:cNvPr id="87" name="Взрыв: 14 точек 2">
            <a:extLst>
              <a:ext uri="{FF2B5EF4-FFF2-40B4-BE49-F238E27FC236}">
                <a16:creationId xmlns:a16="http://schemas.microsoft.com/office/drawing/2014/main" xmlns="" id="{ED8DC02A-BD84-451F-9F65-8B3841B3490D}"/>
              </a:ext>
            </a:extLst>
          </p:cNvPr>
          <p:cNvSpPr/>
          <p:nvPr/>
        </p:nvSpPr>
        <p:spPr>
          <a:xfrm>
            <a:off x="1526390" y="3636465"/>
            <a:ext cx="1181046" cy="820338"/>
          </a:xfrm>
          <a:prstGeom prst="irregularSeal2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kern="200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4</a:t>
            </a:r>
          </a:p>
        </p:txBody>
      </p:sp>
      <p:cxnSp>
        <p:nvCxnSpPr>
          <p:cNvPr id="37" name="Прямая со стрелкой 36">
            <a:extLst>
              <a:ext uri="{FF2B5EF4-FFF2-40B4-BE49-F238E27FC236}">
                <a16:creationId xmlns:a16="http://schemas.microsoft.com/office/drawing/2014/main" xmlns="" id="{CF520150-CBE2-442A-9315-F723D2F57A73}"/>
              </a:ext>
            </a:extLst>
          </p:cNvPr>
          <p:cNvCxnSpPr>
            <a:cxnSpLocks/>
          </p:cNvCxnSpPr>
          <p:nvPr/>
        </p:nvCxnSpPr>
        <p:spPr>
          <a:xfrm>
            <a:off x="1526390" y="3454069"/>
            <a:ext cx="5454" cy="314933"/>
          </a:xfrm>
          <a:prstGeom prst="straightConnector1">
            <a:avLst/>
          </a:prstGeom>
          <a:ln w="25400">
            <a:solidFill>
              <a:srgbClr val="0070C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>
            <a:extLst>
              <a:ext uri="{FF2B5EF4-FFF2-40B4-BE49-F238E27FC236}">
                <a16:creationId xmlns:a16="http://schemas.microsoft.com/office/drawing/2014/main" xmlns="" id="{CF520150-CBE2-442A-9315-F723D2F57A73}"/>
              </a:ext>
            </a:extLst>
          </p:cNvPr>
          <p:cNvCxnSpPr>
            <a:cxnSpLocks/>
          </p:cNvCxnSpPr>
          <p:nvPr/>
        </p:nvCxnSpPr>
        <p:spPr>
          <a:xfrm flipH="1">
            <a:off x="7925169" y="3422998"/>
            <a:ext cx="11246" cy="314933"/>
          </a:xfrm>
          <a:prstGeom prst="straightConnector1">
            <a:avLst/>
          </a:prstGeom>
          <a:ln w="25400">
            <a:solidFill>
              <a:srgbClr val="0070C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Рисунок 22">
            <a:extLst>
              <a:ext uri="{FF2B5EF4-FFF2-40B4-BE49-F238E27FC236}">
                <a16:creationId xmlns:a16="http://schemas.microsoft.com/office/drawing/2014/main" xmlns="" id="{BF7D8012-AD66-45AE-98B0-CB71F37525A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7131" y="106910"/>
            <a:ext cx="608409" cy="701954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xmlns="" id="{AC903C43-722A-4051-9187-A9F202DC567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67" y="109322"/>
            <a:ext cx="692696" cy="692696"/>
          </a:xfrm>
          <a:prstGeom prst="rect">
            <a:avLst/>
          </a:prstGeom>
        </p:spPr>
      </p:pic>
      <p:cxnSp>
        <p:nvCxnSpPr>
          <p:cNvPr id="26" name="Прямая соединительная линия 25"/>
          <p:cNvCxnSpPr/>
          <p:nvPr/>
        </p:nvCxnSpPr>
        <p:spPr>
          <a:xfrm>
            <a:off x="285720" y="928670"/>
            <a:ext cx="4320480" cy="0"/>
          </a:xfrm>
          <a:prstGeom prst="line">
            <a:avLst/>
          </a:prstGeom>
          <a:ln w="19050">
            <a:solidFill>
              <a:srgbClr val="2E65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3"/>
          <p:cNvSpPr txBox="1">
            <a:spLocks noChangeArrowheads="1"/>
          </p:cNvSpPr>
          <p:nvPr/>
        </p:nvSpPr>
        <p:spPr bwMode="auto">
          <a:xfrm>
            <a:off x="931772" y="121341"/>
            <a:ext cx="6983413" cy="520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/>
          </a:bodyPr>
          <a:lstStyle>
            <a:lvl1pPr algn="l" defTabSz="685800">
              <a:lnSpc>
                <a:spcPct val="90000"/>
              </a:lnSpc>
              <a:spcBef>
                <a:spcPts val="0"/>
              </a:spcBef>
              <a:buNone/>
              <a:defRPr sz="33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ru-RU" sz="1600" b="1" dirty="0" smtClean="0">
                <a:solidFill>
                  <a:srgbClr val="2E658E"/>
                </a:solidFill>
                <a:latin typeface="Arial"/>
                <a:cs typeface="Arial"/>
              </a:rPr>
              <a:t>Проект: </a:t>
            </a:r>
            <a:r>
              <a:rPr lang="ru-RU" sz="1400" b="1" dirty="0">
                <a:solidFill>
                  <a:srgbClr val="2E658E"/>
                </a:solidFill>
                <a:latin typeface="Arial"/>
                <a:cs typeface="Arial"/>
              </a:rPr>
              <a:t>Цифровая трансформация процесса оформления и </a:t>
            </a:r>
            <a:br>
              <a:rPr lang="ru-RU" sz="1400" b="1" dirty="0">
                <a:solidFill>
                  <a:srgbClr val="2E658E"/>
                </a:solidFill>
                <a:latin typeface="Arial"/>
                <a:cs typeface="Arial"/>
              </a:rPr>
            </a:br>
            <a:r>
              <a:rPr lang="ru-RU" sz="1400" b="1" dirty="0">
                <a:solidFill>
                  <a:srgbClr val="2E658E"/>
                </a:solidFill>
                <a:latin typeface="Arial"/>
                <a:cs typeface="Arial"/>
              </a:rPr>
              <a:t>выдачи справок гражданам</a:t>
            </a:r>
            <a:endParaRPr lang="en-US" sz="1400" b="1" dirty="0">
              <a:solidFill>
                <a:srgbClr val="2E658E"/>
              </a:solidFill>
              <a:latin typeface="Arial"/>
              <a:cs typeface="Arial"/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3369698" y="6273839"/>
            <a:ext cx="2107559" cy="531552"/>
          </a:xfrm>
          <a:prstGeom prst="rect">
            <a:avLst/>
          </a:prstGeo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  <a:pPr/>
              <a:t>3</a:t>
            </a:fld>
            <a:endParaRPr lang="ru-RU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2C36ACC6-923C-4472-9CD5-C713590C8683}"/>
              </a:ext>
            </a:extLst>
          </p:cNvPr>
          <p:cNvSpPr txBox="1"/>
          <p:nvPr/>
        </p:nvSpPr>
        <p:spPr>
          <a:xfrm>
            <a:off x="525321" y="908434"/>
            <a:ext cx="8071738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85000" lnSpcReduction="20000"/>
          </a:bodyPr>
          <a:lstStyle>
            <a:lvl1pPr algn="ctr" defTabSz="685800" eaLnBrk="1" latinLnBrk="0" hangingPunct="1">
              <a:lnSpc>
                <a:spcPct val="90000"/>
              </a:lnSpc>
              <a:buNone/>
              <a:defRPr sz="2000" b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ru-RU" dirty="0" smtClean="0"/>
          </a:p>
          <a:p>
            <a:r>
              <a:rPr lang="ru-RU" dirty="0" smtClean="0">
                <a:solidFill>
                  <a:srgbClr val="2E658E"/>
                </a:solidFill>
              </a:rPr>
              <a:t>Текущее </a:t>
            </a:r>
            <a:r>
              <a:rPr lang="ru-RU" dirty="0">
                <a:solidFill>
                  <a:srgbClr val="2E658E"/>
                </a:solidFill>
              </a:rPr>
              <a:t>состояние процесса</a:t>
            </a:r>
          </a:p>
        </p:txBody>
      </p:sp>
    </p:spTree>
    <p:extLst>
      <p:ext uri="{BB962C8B-B14F-4D97-AF65-F5344CB8AC3E}">
        <p14:creationId xmlns:p14="http://schemas.microsoft.com/office/powerpoint/2010/main" val="458594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BF7D8012-AD66-45AE-98B0-CB71F37525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7131" y="106910"/>
            <a:ext cx="608409" cy="701954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AC903C43-722A-4051-9187-A9F202DC567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67" y="109322"/>
            <a:ext cx="692696" cy="692696"/>
          </a:xfrm>
          <a:prstGeom prst="rect">
            <a:avLst/>
          </a:prstGeom>
        </p:spPr>
      </p:pic>
      <p:cxnSp>
        <p:nvCxnSpPr>
          <p:cNvPr id="11" name="Прямая соединительная линия 10"/>
          <p:cNvCxnSpPr/>
          <p:nvPr/>
        </p:nvCxnSpPr>
        <p:spPr>
          <a:xfrm>
            <a:off x="285720" y="928670"/>
            <a:ext cx="4320480" cy="0"/>
          </a:xfrm>
          <a:prstGeom prst="line">
            <a:avLst/>
          </a:prstGeom>
          <a:ln w="19050">
            <a:solidFill>
              <a:srgbClr val="2E65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3"/>
          <p:cNvSpPr txBox="1">
            <a:spLocks noChangeArrowheads="1"/>
          </p:cNvSpPr>
          <p:nvPr/>
        </p:nvSpPr>
        <p:spPr bwMode="auto">
          <a:xfrm>
            <a:off x="931772" y="121341"/>
            <a:ext cx="6983413" cy="520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/>
          </a:bodyPr>
          <a:lstStyle>
            <a:lvl1pPr algn="l" defTabSz="685800">
              <a:lnSpc>
                <a:spcPct val="90000"/>
              </a:lnSpc>
              <a:spcBef>
                <a:spcPts val="0"/>
              </a:spcBef>
              <a:buNone/>
              <a:defRPr sz="33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ru-RU" sz="1600" b="1" dirty="0" smtClean="0">
                <a:solidFill>
                  <a:srgbClr val="2E658E"/>
                </a:solidFill>
                <a:latin typeface="Arial"/>
                <a:cs typeface="Arial"/>
              </a:rPr>
              <a:t>Проект: </a:t>
            </a:r>
            <a:r>
              <a:rPr lang="ru-RU" sz="1400" b="1" dirty="0">
                <a:solidFill>
                  <a:srgbClr val="2E658E"/>
                </a:solidFill>
                <a:latin typeface="Arial"/>
                <a:cs typeface="Arial"/>
              </a:rPr>
              <a:t>Цифровая трансформация процесса оформления и </a:t>
            </a:r>
            <a:br>
              <a:rPr lang="ru-RU" sz="1400" b="1" dirty="0">
                <a:solidFill>
                  <a:srgbClr val="2E658E"/>
                </a:solidFill>
                <a:latin typeface="Arial"/>
                <a:cs typeface="Arial"/>
              </a:rPr>
            </a:br>
            <a:r>
              <a:rPr lang="ru-RU" sz="1400" b="1" dirty="0">
                <a:solidFill>
                  <a:srgbClr val="2E658E"/>
                </a:solidFill>
                <a:latin typeface="Arial"/>
                <a:cs typeface="Arial"/>
              </a:rPr>
              <a:t>выдачи справок гражданам</a:t>
            </a:r>
            <a:endParaRPr lang="en-US" sz="1400" b="1" dirty="0">
              <a:solidFill>
                <a:srgbClr val="2E658E"/>
              </a:solidFill>
              <a:latin typeface="Arial"/>
              <a:cs typeface="Arial"/>
            </a:endParaRPr>
          </a:p>
        </p:txBody>
      </p:sp>
      <p:sp>
        <p:nvSpPr>
          <p:cNvPr id="14" name="Текст 2"/>
          <p:cNvSpPr txBox="1">
            <a:spLocks/>
          </p:cNvSpPr>
          <p:nvPr/>
        </p:nvSpPr>
        <p:spPr>
          <a:xfrm>
            <a:off x="431800" y="1628800"/>
            <a:ext cx="8244656" cy="38091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 algn="just">
              <a:buFont typeface="+mj-lt"/>
              <a:buAutoNum type="arabicPeriod"/>
            </a:pPr>
            <a:r>
              <a:rPr lang="ru-RU" sz="2400" dirty="0" smtClean="0">
                <a:solidFill>
                  <a:srgbClr val="2E658E"/>
                </a:solidFill>
              </a:rPr>
              <a:t>Скопление </a:t>
            </a:r>
            <a:r>
              <a:rPr lang="ru-RU" sz="2400" dirty="0">
                <a:solidFill>
                  <a:srgbClr val="2E658E"/>
                </a:solidFill>
              </a:rPr>
              <a:t>документов в ожидании обработки инспектором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ru-RU" sz="2400" dirty="0" smtClean="0">
                <a:solidFill>
                  <a:srgbClr val="2E658E"/>
                </a:solidFill>
              </a:rPr>
              <a:t>Ненужная </a:t>
            </a:r>
            <a:r>
              <a:rPr lang="ru-RU" sz="2400" dirty="0">
                <a:solidFill>
                  <a:srgbClr val="2E658E"/>
                </a:solidFill>
              </a:rPr>
              <a:t>транспортировка справки на бумажном носителе на подписание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ru-RU" sz="2400" dirty="0" smtClean="0">
                <a:solidFill>
                  <a:srgbClr val="2E658E"/>
                </a:solidFill>
              </a:rPr>
              <a:t>Затраты </a:t>
            </a:r>
            <a:r>
              <a:rPr lang="ru-RU" sz="2400" dirty="0">
                <a:solidFill>
                  <a:srgbClr val="2E658E"/>
                </a:solidFill>
              </a:rPr>
              <a:t>на логистические издержки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ru-RU" sz="2400" dirty="0" smtClean="0">
                <a:solidFill>
                  <a:srgbClr val="2E658E"/>
                </a:solidFill>
              </a:rPr>
              <a:t>Затраты </a:t>
            </a:r>
            <a:r>
              <a:rPr lang="ru-RU" sz="2400" dirty="0">
                <a:solidFill>
                  <a:srgbClr val="2E658E"/>
                </a:solidFill>
              </a:rPr>
              <a:t>времени начальника отдела на распределение справок по исполнителям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ru-RU" sz="2400" dirty="0" smtClean="0">
                <a:solidFill>
                  <a:srgbClr val="2E658E"/>
                </a:solidFill>
              </a:rPr>
              <a:t>Ожидание </a:t>
            </a:r>
            <a:r>
              <a:rPr lang="ru-RU" sz="2400" dirty="0">
                <a:solidFill>
                  <a:srgbClr val="2E658E"/>
                </a:solidFill>
              </a:rPr>
              <a:t>прихода заявителя за готовой справкой (хранение готовой справки)</a:t>
            </a:r>
            <a:endParaRPr lang="ru-RU" sz="2400" b="1" dirty="0">
              <a:solidFill>
                <a:srgbClr val="FF0000"/>
              </a:solidFill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3369698" y="6273839"/>
            <a:ext cx="2107559" cy="531552"/>
          </a:xfrm>
          <a:prstGeom prst="rect">
            <a:avLst/>
          </a:prstGeom>
        </p:spPr>
      </p:pic>
      <p:sp>
        <p:nvSpPr>
          <p:cNvPr id="17" name="Номер слайда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  <a:pPr/>
              <a:t>4</a:t>
            </a:fld>
            <a:endParaRPr lang="ru-RU"/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992640" y="1196752"/>
            <a:ext cx="7158720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800" fontAlgn="base">
              <a:lnSpc>
                <a:spcPct val="90000"/>
              </a:lnSpc>
              <a:spcAft>
                <a:spcPct val="0"/>
              </a:spcAft>
            </a:pPr>
            <a:r>
              <a:rPr lang="ru-R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исание проблем процесса</a:t>
            </a:r>
            <a:endParaRPr lang="ru-RU" sz="20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7432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618447" y="1628800"/>
            <a:ext cx="7992888" cy="23945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90000"/>
              </a:lnSpc>
              <a:spcBef>
                <a:spcPct val="20000"/>
              </a:spcBef>
            </a:pPr>
            <a:endParaRPr lang="ru-RU" sz="2400" dirty="0" smtClean="0">
              <a:solidFill>
                <a:srgbClr val="2E658E"/>
              </a:solidFill>
              <a:latin typeface="+mn-lt"/>
            </a:endParaRPr>
          </a:p>
          <a:p>
            <a:pPr algn="just">
              <a:lnSpc>
                <a:spcPct val="90000"/>
              </a:lnSpc>
              <a:spcBef>
                <a:spcPct val="20000"/>
              </a:spcBef>
            </a:pPr>
            <a:r>
              <a:rPr lang="ru-RU" sz="2000" dirty="0" smtClean="0">
                <a:solidFill>
                  <a:srgbClr val="2E658E"/>
                </a:solidFill>
                <a:latin typeface="+mn-lt"/>
              </a:rPr>
              <a:t>Решения</a:t>
            </a:r>
            <a:r>
              <a:rPr lang="ru-RU" sz="2000" dirty="0">
                <a:solidFill>
                  <a:srgbClr val="2E658E"/>
                </a:solidFill>
                <a:latin typeface="+mn-lt"/>
              </a:rPr>
              <a:t>:</a:t>
            </a:r>
          </a:p>
          <a:p>
            <a:pPr marL="457200" indent="-457200" algn="just">
              <a:lnSpc>
                <a:spcPct val="90000"/>
              </a:lnSpc>
              <a:spcBef>
                <a:spcPct val="20000"/>
              </a:spcBef>
              <a:buFont typeface="+mj-lt"/>
              <a:buAutoNum type="arabicPeriod"/>
            </a:pPr>
            <a:r>
              <a:rPr lang="ru-RU" sz="2000" dirty="0" smtClean="0">
                <a:solidFill>
                  <a:srgbClr val="2E658E"/>
                </a:solidFill>
                <a:latin typeface="+mn-lt"/>
              </a:rPr>
              <a:t>Исключение </a:t>
            </a:r>
            <a:r>
              <a:rPr lang="ru-RU" sz="2000" dirty="0">
                <a:solidFill>
                  <a:srgbClr val="2E658E"/>
                </a:solidFill>
                <a:latin typeface="+mn-lt"/>
              </a:rPr>
              <a:t>личного посещения заявителем центра занятости.</a:t>
            </a:r>
          </a:p>
          <a:p>
            <a:pPr marL="457200" indent="-457200" algn="just">
              <a:lnSpc>
                <a:spcPct val="90000"/>
              </a:lnSpc>
              <a:spcBef>
                <a:spcPct val="20000"/>
              </a:spcBef>
              <a:buFont typeface="+mj-lt"/>
              <a:buAutoNum type="arabicPeriod"/>
            </a:pPr>
            <a:r>
              <a:rPr lang="ru-RU" sz="2000" dirty="0" smtClean="0">
                <a:solidFill>
                  <a:srgbClr val="2E658E"/>
                </a:solidFill>
                <a:latin typeface="+mn-lt"/>
              </a:rPr>
              <a:t>Внедрение </a:t>
            </a:r>
            <a:r>
              <a:rPr lang="ru-RU" sz="2000" dirty="0">
                <a:solidFill>
                  <a:srgbClr val="2E658E"/>
                </a:solidFill>
                <a:latin typeface="+mn-lt"/>
              </a:rPr>
              <a:t>электронного согласования.</a:t>
            </a:r>
          </a:p>
          <a:p>
            <a:pPr marL="457200" indent="-457200" algn="just">
              <a:lnSpc>
                <a:spcPct val="90000"/>
              </a:lnSpc>
              <a:spcBef>
                <a:spcPct val="20000"/>
              </a:spcBef>
              <a:buFont typeface="+mj-lt"/>
              <a:buAutoNum type="arabicPeriod"/>
            </a:pPr>
            <a:r>
              <a:rPr lang="ru-RU" sz="2000" dirty="0" smtClean="0">
                <a:solidFill>
                  <a:srgbClr val="2E658E"/>
                </a:solidFill>
                <a:latin typeface="+mn-lt"/>
              </a:rPr>
              <a:t>Исключение </a:t>
            </a:r>
            <a:r>
              <a:rPr lang="ru-RU" sz="2000" dirty="0">
                <a:solidFill>
                  <a:srgbClr val="2E658E"/>
                </a:solidFill>
                <a:latin typeface="+mn-lt"/>
              </a:rPr>
              <a:t>транспортных </a:t>
            </a:r>
            <a:r>
              <a:rPr lang="ru-RU" sz="2000" dirty="0" smtClean="0">
                <a:solidFill>
                  <a:srgbClr val="2E658E"/>
                </a:solidFill>
                <a:latin typeface="+mn-lt"/>
              </a:rPr>
              <a:t>перевозок и</a:t>
            </a:r>
            <a:r>
              <a:rPr lang="ru-RU" sz="2000" dirty="0">
                <a:solidFill>
                  <a:srgbClr val="2E658E"/>
                </a:solidFill>
                <a:latin typeface="+mn-lt"/>
              </a:rPr>
              <a:t>, </a:t>
            </a:r>
            <a:r>
              <a:rPr lang="ru-RU" sz="2000" dirty="0" smtClean="0">
                <a:solidFill>
                  <a:srgbClr val="2E658E"/>
                </a:solidFill>
                <a:latin typeface="+mn-lt"/>
              </a:rPr>
              <a:t>соответственно, </a:t>
            </a:r>
            <a:r>
              <a:rPr lang="ru-RU" sz="2000" dirty="0">
                <a:solidFill>
                  <a:srgbClr val="2E658E"/>
                </a:solidFill>
                <a:latin typeface="+mn-lt"/>
              </a:rPr>
              <a:t>времени ожидания перевозки.</a:t>
            </a:r>
          </a:p>
          <a:p>
            <a:pPr marL="457200" indent="-457200" algn="just">
              <a:lnSpc>
                <a:spcPct val="90000"/>
              </a:lnSpc>
              <a:spcBef>
                <a:spcPct val="20000"/>
              </a:spcBef>
              <a:buFont typeface="+mj-lt"/>
              <a:buAutoNum type="arabicPeriod"/>
            </a:pPr>
            <a:r>
              <a:rPr lang="ru-RU" sz="2000" dirty="0" smtClean="0">
                <a:solidFill>
                  <a:srgbClr val="2E658E"/>
                </a:solidFill>
                <a:latin typeface="+mn-lt"/>
              </a:rPr>
              <a:t>Исключение </a:t>
            </a:r>
            <a:r>
              <a:rPr lang="ru-RU" sz="2000" dirty="0">
                <a:solidFill>
                  <a:srgbClr val="2E658E"/>
                </a:solidFill>
                <a:latin typeface="+mn-lt"/>
              </a:rPr>
              <a:t>функции хранения готовых справок</a:t>
            </a:r>
            <a:r>
              <a:rPr lang="ru-RU" sz="2000" dirty="0" smtClean="0">
                <a:solidFill>
                  <a:srgbClr val="2E658E"/>
                </a:solidFill>
                <a:latin typeface="+mn-lt"/>
              </a:rPr>
              <a:t>.</a:t>
            </a:r>
            <a:endParaRPr lang="ru-RU" sz="2000" dirty="0">
              <a:solidFill>
                <a:srgbClr val="2E658E"/>
              </a:solidFill>
              <a:latin typeface="+mn-lt"/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285720" y="928670"/>
            <a:ext cx="4320480" cy="0"/>
          </a:xfrm>
          <a:prstGeom prst="line">
            <a:avLst/>
          </a:prstGeom>
          <a:ln w="19050">
            <a:solidFill>
              <a:srgbClr val="2E65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BF7D8012-AD66-45AE-98B0-CB71F37525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7131" y="106910"/>
            <a:ext cx="608409" cy="701954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AC903C43-722A-4051-9187-A9F202DC567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67" y="109322"/>
            <a:ext cx="692696" cy="692696"/>
          </a:xfrm>
          <a:prstGeom prst="rect">
            <a:avLst/>
          </a:prstGeom>
        </p:spPr>
      </p:pic>
      <p:sp>
        <p:nvSpPr>
          <p:cNvPr id="16" name="Rectangle 3"/>
          <p:cNvSpPr txBox="1">
            <a:spLocks noChangeArrowheads="1"/>
          </p:cNvSpPr>
          <p:nvPr/>
        </p:nvSpPr>
        <p:spPr bwMode="auto">
          <a:xfrm>
            <a:off x="931772" y="121341"/>
            <a:ext cx="6983413" cy="520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/>
          </a:bodyPr>
          <a:lstStyle>
            <a:lvl1pPr algn="l" defTabSz="685800">
              <a:lnSpc>
                <a:spcPct val="90000"/>
              </a:lnSpc>
              <a:spcBef>
                <a:spcPts val="0"/>
              </a:spcBef>
              <a:buNone/>
              <a:defRPr sz="33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ru-RU" sz="1600" b="1" dirty="0" smtClean="0">
                <a:solidFill>
                  <a:srgbClr val="2E658E"/>
                </a:solidFill>
                <a:latin typeface="Arial"/>
                <a:cs typeface="Arial"/>
              </a:rPr>
              <a:t>Проект: </a:t>
            </a:r>
            <a:r>
              <a:rPr lang="ru-RU" sz="1400" b="1" dirty="0">
                <a:solidFill>
                  <a:srgbClr val="2E658E"/>
                </a:solidFill>
                <a:latin typeface="Arial"/>
                <a:cs typeface="Arial"/>
              </a:rPr>
              <a:t>Цифровая трансформация процесса оформления и </a:t>
            </a:r>
            <a:br>
              <a:rPr lang="ru-RU" sz="1400" b="1" dirty="0">
                <a:solidFill>
                  <a:srgbClr val="2E658E"/>
                </a:solidFill>
                <a:latin typeface="Arial"/>
                <a:cs typeface="Arial"/>
              </a:rPr>
            </a:br>
            <a:r>
              <a:rPr lang="ru-RU" sz="1400" b="1" dirty="0">
                <a:solidFill>
                  <a:srgbClr val="2E658E"/>
                </a:solidFill>
                <a:latin typeface="Arial"/>
                <a:cs typeface="Arial"/>
              </a:rPr>
              <a:t>выдачи справок гражданам</a:t>
            </a:r>
            <a:endParaRPr lang="en-US" sz="1400" b="1" dirty="0">
              <a:solidFill>
                <a:srgbClr val="2E658E"/>
              </a:solidFill>
              <a:latin typeface="Arial"/>
              <a:cs typeface="Arial"/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3369698" y="6273839"/>
            <a:ext cx="2107559" cy="531552"/>
          </a:xfrm>
          <a:prstGeom prst="rect">
            <a:avLst/>
          </a:prstGeom>
        </p:spPr>
      </p:pic>
      <p:sp>
        <p:nvSpPr>
          <p:cNvPr id="19" name="Номер слайда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  <a:pPr/>
              <a:t>5</a:t>
            </a:fld>
            <a:endParaRPr lang="ru-RU"/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992640" y="1196752"/>
            <a:ext cx="7158720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800" fontAlgn="base">
              <a:lnSpc>
                <a:spcPct val="90000"/>
              </a:lnSpc>
              <a:spcAft>
                <a:spcPct val="0"/>
              </a:spcAft>
            </a:pPr>
            <a:r>
              <a:rPr lang="ru-R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шения:</a:t>
            </a:r>
            <a:endParaRPr lang="ru-RU" sz="20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9331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BF7D8012-AD66-45AE-98B0-CB71F37525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7131" y="106910"/>
            <a:ext cx="608409" cy="701954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AC903C43-722A-4051-9187-A9F202DC567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67" y="109322"/>
            <a:ext cx="692696" cy="692696"/>
          </a:xfrm>
          <a:prstGeom prst="rect">
            <a:avLst/>
          </a:prstGeom>
        </p:spPr>
      </p:pic>
      <p:cxnSp>
        <p:nvCxnSpPr>
          <p:cNvPr id="12" name="Прямая соединительная линия 11"/>
          <p:cNvCxnSpPr/>
          <p:nvPr/>
        </p:nvCxnSpPr>
        <p:spPr>
          <a:xfrm>
            <a:off x="285720" y="928670"/>
            <a:ext cx="4320480" cy="0"/>
          </a:xfrm>
          <a:prstGeom prst="line">
            <a:avLst/>
          </a:prstGeom>
          <a:ln w="19050">
            <a:solidFill>
              <a:srgbClr val="2E65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3"/>
          <p:cNvSpPr txBox="1">
            <a:spLocks noChangeArrowheads="1"/>
          </p:cNvSpPr>
          <p:nvPr/>
        </p:nvSpPr>
        <p:spPr bwMode="auto">
          <a:xfrm>
            <a:off x="931772" y="121341"/>
            <a:ext cx="6983413" cy="520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/>
          </a:bodyPr>
          <a:lstStyle>
            <a:lvl1pPr algn="l" defTabSz="685800">
              <a:lnSpc>
                <a:spcPct val="90000"/>
              </a:lnSpc>
              <a:spcBef>
                <a:spcPts val="0"/>
              </a:spcBef>
              <a:buNone/>
              <a:defRPr sz="33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ru-RU" sz="1600" b="1" dirty="0" smtClean="0">
                <a:solidFill>
                  <a:srgbClr val="2E658E"/>
                </a:solidFill>
                <a:latin typeface="Arial"/>
                <a:cs typeface="Arial"/>
              </a:rPr>
              <a:t>Проект: </a:t>
            </a:r>
            <a:r>
              <a:rPr lang="ru-RU" sz="1400" b="1" dirty="0">
                <a:solidFill>
                  <a:srgbClr val="2E658E"/>
                </a:solidFill>
                <a:latin typeface="Arial"/>
                <a:cs typeface="Arial"/>
              </a:rPr>
              <a:t>Цифровая трансформация процесса оформления и </a:t>
            </a:r>
            <a:br>
              <a:rPr lang="ru-RU" sz="1400" b="1" dirty="0">
                <a:solidFill>
                  <a:srgbClr val="2E658E"/>
                </a:solidFill>
                <a:latin typeface="Arial"/>
                <a:cs typeface="Arial"/>
              </a:rPr>
            </a:br>
            <a:r>
              <a:rPr lang="ru-RU" sz="1400" b="1" dirty="0">
                <a:solidFill>
                  <a:srgbClr val="2E658E"/>
                </a:solidFill>
                <a:latin typeface="Arial"/>
                <a:cs typeface="Arial"/>
              </a:rPr>
              <a:t>выдачи справок гражданам</a:t>
            </a:r>
            <a:endParaRPr lang="en-US" sz="1400" b="1" dirty="0">
              <a:solidFill>
                <a:srgbClr val="2E658E"/>
              </a:solidFill>
              <a:latin typeface="Arial"/>
              <a:cs typeface="Arial"/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3369698" y="6273839"/>
            <a:ext cx="2107559" cy="531552"/>
          </a:xfrm>
          <a:prstGeom prst="rect">
            <a:avLst/>
          </a:prstGeom>
        </p:spPr>
      </p:pic>
      <p:sp>
        <p:nvSpPr>
          <p:cNvPr id="17" name="Номер слайда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  <a:pPr/>
              <a:t>6</a:t>
            </a:fld>
            <a:endParaRPr lang="ru-RU"/>
          </a:p>
        </p:txBody>
      </p:sp>
      <p:graphicFrame>
        <p:nvGraphicFramePr>
          <p:cNvPr id="18" name="Таблица 5">
            <a:extLst>
              <a:ext uri="{FF2B5EF4-FFF2-40B4-BE49-F238E27FC236}">
                <a16:creationId xmlns:a16="http://schemas.microsoft.com/office/drawing/2014/main" xmlns="" id="{BD641198-482E-431B-BEFD-20C6E38D55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9516438"/>
              </p:ext>
            </p:extLst>
          </p:nvPr>
        </p:nvGraphicFramePr>
        <p:xfrm>
          <a:off x="683568" y="1556792"/>
          <a:ext cx="7927767" cy="39346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92688">
                  <a:extLst>
                    <a:ext uri="{9D8B030D-6E8A-4147-A177-3AD203B41FA5}">
                      <a16:colId xmlns:a16="http://schemas.microsoft.com/office/drawing/2014/main" xmlns="" val="950022482"/>
                    </a:ext>
                  </a:extLst>
                </a:gridCol>
                <a:gridCol w="1735079">
                  <a:extLst>
                    <a:ext uri="{9D8B030D-6E8A-4147-A177-3AD203B41FA5}">
                      <a16:colId xmlns:a16="http://schemas.microsoft.com/office/drawing/2014/main" xmlns="" val="133024587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Мероприяти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Статус выполнения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470894154"/>
                  </a:ext>
                </a:extLst>
              </a:tr>
              <a:tr h="329910">
                <a:tc>
                  <a:txBody>
                    <a:bodyPr/>
                    <a:lstStyle/>
                    <a:p>
                      <a:pPr marL="0" algn="just" defTabSz="914400" rtl="0" eaLnBrk="1" fontAlgn="ctr" latinLnBrk="0" hangingPunct="1"/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Разработка цифрового решения в рамках текущего делопроизводства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rgbClr val="002060"/>
                          </a:solidFill>
                        </a:rPr>
                        <a:t>реализовано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3995998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just" defTabSz="914400" rtl="0" eaLnBrk="1" fontAlgn="ctr" latinLnBrk="0" hangingPunct="1"/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Разработка инструкции пользователя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</a:p>
                    <a:p>
                      <a:endParaRPr lang="ru-RU" sz="14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1802336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just" defTabSz="914400" rtl="0" eaLnBrk="1" fontAlgn="ctr" latinLnBrk="0" hangingPunct="1"/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Информирование заявителей о порядке получения справок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2224988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just" defTabSz="914400" rtl="0" eaLnBrk="1" fontAlgn="ctr" latinLnBrk="0" hangingPunct="1"/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Обучение сотрудников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63736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just" defTabSz="914400" rtl="0" eaLnBrk="1" fontAlgn="ctr" latinLnBrk="0" hangingPunct="1"/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Внедрение цифрового решения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1192888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just" defTabSz="914400" rtl="0" eaLnBrk="1" fontAlgn="ctr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Получение обратной связи пользователей из числа сотрудников</a:t>
                      </a:r>
                    </a:p>
                  </a:txBody>
                  <a:tcPr marL="55001" marR="55001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3235134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just" defTabSz="914400" rtl="0" eaLnBrk="1" fontAlgn="ctr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Доработка цифрового решения</a:t>
                      </a:r>
                    </a:p>
                  </a:txBody>
                  <a:tcPr marL="55001" marR="55001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2235322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just" defTabSz="914400" rtl="0" eaLnBrk="1" fontAlgn="ctr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Получение обратной связи заявителей</a:t>
                      </a:r>
                    </a:p>
                  </a:txBody>
                  <a:tcPr marL="55001" marR="55001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just" defTabSz="914400" rtl="0" eaLnBrk="1" fontAlgn="ctr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Принятие решения </a:t>
                      </a:r>
                      <a:r>
                        <a:rPr lang="ru-RU" sz="1400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о возможных доработках способа подачи обращения и получения справки</a:t>
                      </a:r>
                    </a:p>
                  </a:txBody>
                  <a:tcPr marL="55001" marR="55001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1907704" y="1052736"/>
            <a:ext cx="53285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chemeClr val="accent1">
                    <a:lumMod val="75000"/>
                  </a:schemeClr>
                </a:solidFill>
              </a:rPr>
              <a:t>Мероприятия для реализации проекта</a:t>
            </a:r>
          </a:p>
        </p:txBody>
      </p:sp>
    </p:spTree>
    <p:extLst>
      <p:ext uri="{BB962C8B-B14F-4D97-AF65-F5344CB8AC3E}">
        <p14:creationId xmlns:p14="http://schemas.microsoft.com/office/powerpoint/2010/main" val="752287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Двойная стрелка влево/вправо 36">
            <a:extLst>
              <a:ext uri="{FF2B5EF4-FFF2-40B4-BE49-F238E27FC236}">
                <a16:creationId xmlns:a16="http://schemas.microsoft.com/office/drawing/2014/main" xmlns="" id="{F540F31D-50C7-406C-BAF4-B6C241EBEE76}"/>
              </a:ext>
            </a:extLst>
          </p:cNvPr>
          <p:cNvSpPr/>
          <p:nvPr/>
        </p:nvSpPr>
        <p:spPr>
          <a:xfrm>
            <a:off x="285721" y="5378647"/>
            <a:ext cx="4934352" cy="57600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TextBox 38"/>
          <p:cNvSpPr txBox="1"/>
          <p:nvPr/>
        </p:nvSpPr>
        <p:spPr>
          <a:xfrm>
            <a:off x="395536" y="5481285"/>
            <a:ext cx="55446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</a:rPr>
              <a:t>Время протекания процесса  = 2 дня </a:t>
            </a:r>
            <a:endParaRPr lang="ru-RU" b="1" dirty="0">
              <a:solidFill>
                <a:schemeClr val="bg1"/>
              </a:solidFill>
            </a:endParaRPr>
          </a:p>
        </p:txBody>
      </p:sp>
      <p:cxnSp>
        <p:nvCxnSpPr>
          <p:cNvPr id="55" name="Прямая со стрелкой 54"/>
          <p:cNvCxnSpPr>
            <a:cxnSpLocks/>
            <a:stCxn id="51" idx="3"/>
          </p:cNvCxnSpPr>
          <p:nvPr/>
        </p:nvCxnSpPr>
        <p:spPr>
          <a:xfrm>
            <a:off x="6365841" y="2858720"/>
            <a:ext cx="798447" cy="12128"/>
          </a:xfrm>
          <a:prstGeom prst="straightConnector1">
            <a:avLst/>
          </a:prstGeom>
          <a:ln w="25400">
            <a:solidFill>
              <a:srgbClr val="0070C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 стрелкой 56"/>
          <p:cNvCxnSpPr>
            <a:cxnSpLocks/>
            <a:stCxn id="50" idx="3"/>
            <a:endCxn id="51" idx="1"/>
          </p:cNvCxnSpPr>
          <p:nvPr/>
        </p:nvCxnSpPr>
        <p:spPr>
          <a:xfrm>
            <a:off x="4007090" y="2858540"/>
            <a:ext cx="960853" cy="180"/>
          </a:xfrm>
          <a:prstGeom prst="straightConnector1">
            <a:avLst/>
          </a:prstGeom>
          <a:ln w="25400">
            <a:solidFill>
              <a:srgbClr val="0070C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 стрелкой 57"/>
          <p:cNvCxnSpPr>
            <a:cxnSpLocks/>
            <a:stCxn id="30" idx="3"/>
            <a:endCxn id="50" idx="1"/>
          </p:cNvCxnSpPr>
          <p:nvPr/>
        </p:nvCxnSpPr>
        <p:spPr>
          <a:xfrm flipV="1">
            <a:off x="1621578" y="2858540"/>
            <a:ext cx="923912" cy="12308"/>
          </a:xfrm>
          <a:prstGeom prst="straightConnector1">
            <a:avLst/>
          </a:prstGeom>
          <a:ln w="25400">
            <a:solidFill>
              <a:srgbClr val="0070C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0" name="Таблица 30">
            <a:extLst>
              <a:ext uri="{FF2B5EF4-FFF2-40B4-BE49-F238E27FC236}">
                <a16:creationId xmlns:a16="http://schemas.microsoft.com/office/drawing/2014/main" xmlns="" id="{3127511B-049F-45CA-B86A-1CA222C75D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8106891"/>
              </p:ext>
            </p:extLst>
          </p:nvPr>
        </p:nvGraphicFramePr>
        <p:xfrm>
          <a:off x="191704" y="1985888"/>
          <a:ext cx="1429874" cy="1769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9874">
                  <a:extLst>
                    <a:ext uri="{9D8B030D-6E8A-4147-A177-3AD203B41FA5}">
                      <a16:colId xmlns:a16="http://schemas.microsoft.com/office/drawing/2014/main" xmlns="" val="1501851660"/>
                    </a:ext>
                  </a:extLst>
                </a:gridCol>
              </a:tblGrid>
              <a:tr h="487582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ход процесса </a:t>
                      </a:r>
                    </a:p>
                    <a:p>
                      <a:pPr algn="ctr"/>
                      <a:endParaRPr lang="ru-RU" sz="11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674130847"/>
                  </a:ext>
                </a:extLst>
              </a:tr>
              <a:tr h="410284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rgbClr val="00206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Гражданин</a:t>
                      </a:r>
                      <a:endParaRPr lang="ru-RU" sz="1100" kern="1200" dirty="0">
                        <a:solidFill>
                          <a:srgbClr val="00206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564306252"/>
                  </a:ext>
                </a:extLst>
              </a:tr>
              <a:tr h="872054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rgbClr val="00206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бращение за выдачей справки в электронном виде  </a:t>
                      </a:r>
                      <a:endParaRPr lang="ru-RU" sz="1100" kern="1200" dirty="0">
                        <a:solidFill>
                          <a:srgbClr val="00206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198363404"/>
                  </a:ext>
                </a:extLst>
              </a:tr>
            </a:tbl>
          </a:graphicData>
        </a:graphic>
      </p:graphicFrame>
      <p:graphicFrame>
        <p:nvGraphicFramePr>
          <p:cNvPr id="50" name="Таблица 30">
            <a:extLst>
              <a:ext uri="{FF2B5EF4-FFF2-40B4-BE49-F238E27FC236}">
                <a16:creationId xmlns:a16="http://schemas.microsoft.com/office/drawing/2014/main" xmlns="" id="{128A42D4-46BD-4C13-859E-B755B7D2BD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4159866"/>
              </p:ext>
            </p:extLst>
          </p:nvPr>
        </p:nvGraphicFramePr>
        <p:xfrm>
          <a:off x="2545490" y="1967540"/>
          <a:ext cx="1461600" cy="178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61600">
                  <a:extLst>
                    <a:ext uri="{9D8B030D-6E8A-4147-A177-3AD203B41FA5}">
                      <a16:colId xmlns:a16="http://schemas.microsoft.com/office/drawing/2014/main" xmlns="" val="1501851660"/>
                    </a:ext>
                  </a:extLst>
                </a:gridCol>
              </a:tblGrid>
              <a:tr h="462005">
                <a:tc>
                  <a:txBody>
                    <a:bodyPr/>
                    <a:lstStyle/>
                    <a:p>
                      <a:pPr algn="ctr"/>
                      <a:endParaRPr lang="ru-RU" sz="11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674130847"/>
                  </a:ext>
                </a:extLst>
              </a:tr>
              <a:tr h="383917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rgbClr val="00206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ЦЗН </a:t>
                      </a:r>
                      <a:endParaRPr lang="ru-RU" sz="1100" kern="1200" dirty="0">
                        <a:solidFill>
                          <a:srgbClr val="00206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564306252"/>
                  </a:ext>
                </a:extLst>
              </a:tr>
              <a:tr h="936078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rgbClr val="00206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олучение  обращения, формирование справки, согласование</a:t>
                      </a:r>
                      <a:endParaRPr lang="ru-RU" sz="1100" kern="1200" dirty="0">
                        <a:solidFill>
                          <a:srgbClr val="00206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198363404"/>
                  </a:ext>
                </a:extLst>
              </a:tr>
            </a:tbl>
          </a:graphicData>
        </a:graphic>
      </p:graphicFrame>
      <p:graphicFrame>
        <p:nvGraphicFramePr>
          <p:cNvPr id="51" name="Таблица 30">
            <a:extLst>
              <a:ext uri="{FF2B5EF4-FFF2-40B4-BE49-F238E27FC236}">
                <a16:creationId xmlns:a16="http://schemas.microsoft.com/office/drawing/2014/main" xmlns="" id="{5F0D89FB-851C-4C94-B8BF-8880F64399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0402377"/>
              </p:ext>
            </p:extLst>
          </p:nvPr>
        </p:nvGraphicFramePr>
        <p:xfrm>
          <a:off x="4967943" y="1929245"/>
          <a:ext cx="1397898" cy="18589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97898">
                  <a:extLst>
                    <a:ext uri="{9D8B030D-6E8A-4147-A177-3AD203B41FA5}">
                      <a16:colId xmlns:a16="http://schemas.microsoft.com/office/drawing/2014/main" xmlns="" val="1501851660"/>
                    </a:ext>
                  </a:extLst>
                </a:gridCol>
              </a:tblGrid>
              <a:tr h="424042">
                <a:tc>
                  <a:txBody>
                    <a:bodyPr/>
                    <a:lstStyle/>
                    <a:p>
                      <a:pPr algn="ctr"/>
                      <a:endParaRPr lang="ru-RU" sz="11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674130847"/>
                  </a:ext>
                </a:extLst>
              </a:tr>
              <a:tr h="414024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rgbClr val="00206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ЦЗН</a:t>
                      </a:r>
                      <a:endParaRPr lang="ru-RU" sz="1100" kern="1200" dirty="0">
                        <a:solidFill>
                          <a:srgbClr val="00206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564306252"/>
                  </a:ext>
                </a:extLst>
              </a:tr>
              <a:tr h="1020885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Направление справки заявителю в электронном виде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198363404"/>
                  </a:ext>
                </a:extLst>
              </a:tr>
            </a:tbl>
          </a:graphicData>
        </a:graphic>
      </p:graphicFrame>
      <p:graphicFrame>
        <p:nvGraphicFramePr>
          <p:cNvPr id="54" name="Таблица 30">
            <a:extLst>
              <a:ext uri="{FF2B5EF4-FFF2-40B4-BE49-F238E27FC236}">
                <a16:creationId xmlns:a16="http://schemas.microsoft.com/office/drawing/2014/main" xmlns="" id="{A168D54A-D1B8-482C-A0AD-0247BA74B2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2835504"/>
              </p:ext>
            </p:extLst>
          </p:nvPr>
        </p:nvGraphicFramePr>
        <p:xfrm>
          <a:off x="7240824" y="1926624"/>
          <a:ext cx="1461600" cy="17772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61600">
                  <a:extLst>
                    <a:ext uri="{9D8B030D-6E8A-4147-A177-3AD203B41FA5}">
                      <a16:colId xmlns:a16="http://schemas.microsoft.com/office/drawing/2014/main" xmlns="" val="1501851660"/>
                    </a:ext>
                  </a:extLst>
                </a:gridCol>
              </a:tblGrid>
              <a:tr h="422256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ыход процесса</a:t>
                      </a:r>
                      <a:endParaRPr lang="ru-RU" sz="1100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674130847"/>
                  </a:ext>
                </a:extLst>
              </a:tr>
              <a:tr h="504056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rgbClr val="00206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Гражданин</a:t>
                      </a:r>
                      <a:endParaRPr lang="ru-RU" sz="1100" kern="1200" dirty="0">
                        <a:solidFill>
                          <a:srgbClr val="00206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564306252"/>
                  </a:ext>
                </a:extLst>
              </a:tr>
              <a:tr h="850900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Получение справки в электронном виде </a:t>
                      </a:r>
                    </a:p>
                    <a:p>
                      <a:pPr algn="ctr"/>
                      <a:endParaRPr lang="ru-RU" sz="1100" dirty="0">
                        <a:solidFill>
                          <a:srgbClr val="00206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198363404"/>
                  </a:ext>
                </a:extLst>
              </a:tr>
            </a:tbl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1115616" y="2966385"/>
            <a:ext cx="324035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r>
              <a:rPr lang="ru-RU" dirty="0" smtClean="0"/>
              <a:t>Время исполнения 1 день</a:t>
            </a:r>
            <a:endParaRPr lang="ru-RU" dirty="0"/>
          </a:p>
        </p:txBody>
      </p:sp>
      <p:sp>
        <p:nvSpPr>
          <p:cNvPr id="24" name="Прямоугольник 23"/>
          <p:cNvSpPr/>
          <p:nvPr/>
        </p:nvSpPr>
        <p:spPr>
          <a:xfrm>
            <a:off x="5363317" y="3773638"/>
            <a:ext cx="324035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Время исполнения 1 день</a:t>
            </a:r>
            <a:endParaRPr lang="ru-RU" dirty="0"/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xmlns="" id="{BF7D8012-AD66-45AE-98B0-CB71F37525A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7131" y="106910"/>
            <a:ext cx="608409" cy="701954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xmlns="" id="{AC903C43-722A-4051-9187-A9F202DC567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67" y="109322"/>
            <a:ext cx="692696" cy="692696"/>
          </a:xfrm>
          <a:prstGeom prst="rect">
            <a:avLst/>
          </a:prstGeom>
        </p:spPr>
      </p:pic>
      <p:cxnSp>
        <p:nvCxnSpPr>
          <p:cNvPr id="23" name="Прямая соединительная линия 22"/>
          <p:cNvCxnSpPr/>
          <p:nvPr/>
        </p:nvCxnSpPr>
        <p:spPr>
          <a:xfrm>
            <a:off x="285720" y="928670"/>
            <a:ext cx="4320480" cy="0"/>
          </a:xfrm>
          <a:prstGeom prst="line">
            <a:avLst/>
          </a:prstGeom>
          <a:ln w="19050">
            <a:solidFill>
              <a:srgbClr val="2E65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3"/>
          <p:cNvSpPr txBox="1">
            <a:spLocks noChangeArrowheads="1"/>
          </p:cNvSpPr>
          <p:nvPr/>
        </p:nvSpPr>
        <p:spPr bwMode="auto">
          <a:xfrm>
            <a:off x="931772" y="121341"/>
            <a:ext cx="6983413" cy="520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/>
          </a:bodyPr>
          <a:lstStyle>
            <a:lvl1pPr algn="l" defTabSz="685800">
              <a:lnSpc>
                <a:spcPct val="90000"/>
              </a:lnSpc>
              <a:spcBef>
                <a:spcPts val="0"/>
              </a:spcBef>
              <a:buNone/>
              <a:defRPr sz="33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ru-RU" sz="1600" b="1" dirty="0" smtClean="0">
                <a:solidFill>
                  <a:srgbClr val="2E658E"/>
                </a:solidFill>
                <a:latin typeface="Arial"/>
                <a:cs typeface="Arial"/>
              </a:rPr>
              <a:t>Проект: </a:t>
            </a:r>
            <a:r>
              <a:rPr lang="ru-RU" sz="1400" b="1" dirty="0">
                <a:solidFill>
                  <a:srgbClr val="2E658E"/>
                </a:solidFill>
                <a:latin typeface="Arial"/>
                <a:cs typeface="Arial"/>
              </a:rPr>
              <a:t>Цифровая трансформация процесса оформления и </a:t>
            </a:r>
            <a:br>
              <a:rPr lang="ru-RU" sz="1400" b="1" dirty="0">
                <a:solidFill>
                  <a:srgbClr val="2E658E"/>
                </a:solidFill>
                <a:latin typeface="Arial"/>
                <a:cs typeface="Arial"/>
              </a:rPr>
            </a:br>
            <a:r>
              <a:rPr lang="ru-RU" sz="1400" b="1" dirty="0">
                <a:solidFill>
                  <a:srgbClr val="2E658E"/>
                </a:solidFill>
                <a:latin typeface="Arial"/>
                <a:cs typeface="Arial"/>
              </a:rPr>
              <a:t>выдачи справок гражданам</a:t>
            </a:r>
            <a:endParaRPr lang="en-US" sz="1400" b="1" dirty="0">
              <a:solidFill>
                <a:srgbClr val="2E658E"/>
              </a:solidFill>
              <a:latin typeface="Arial"/>
              <a:cs typeface="Arial"/>
            </a:endParaRP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3369698" y="6273839"/>
            <a:ext cx="2107559" cy="531552"/>
          </a:xfrm>
          <a:prstGeom prst="rect">
            <a:avLst/>
          </a:prstGeom>
        </p:spPr>
      </p:pic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  <a:pPr/>
              <a:t>7</a:t>
            </a:fld>
            <a:endParaRPr lang="ru-RU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2C36ACC6-923C-4472-9CD5-C713590C8683}"/>
              </a:ext>
            </a:extLst>
          </p:cNvPr>
          <p:cNvSpPr txBox="1"/>
          <p:nvPr/>
        </p:nvSpPr>
        <p:spPr>
          <a:xfrm>
            <a:off x="525321" y="908434"/>
            <a:ext cx="8071738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85000" lnSpcReduction="20000"/>
          </a:bodyPr>
          <a:lstStyle>
            <a:lvl1pPr algn="ctr" defTabSz="685800" eaLnBrk="1" latinLnBrk="0" hangingPunct="1">
              <a:lnSpc>
                <a:spcPct val="90000"/>
              </a:lnSpc>
              <a:buNone/>
              <a:defRPr sz="2000" b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ru-RU" dirty="0" smtClean="0"/>
          </a:p>
          <a:p>
            <a:r>
              <a:rPr lang="ru-RU" dirty="0" smtClean="0">
                <a:solidFill>
                  <a:srgbClr val="2E658E"/>
                </a:solidFill>
              </a:rPr>
              <a:t>Целевое </a:t>
            </a:r>
            <a:r>
              <a:rPr lang="ru-RU" dirty="0">
                <a:solidFill>
                  <a:srgbClr val="2E658E"/>
                </a:solidFill>
              </a:rPr>
              <a:t>состояние процесса</a:t>
            </a:r>
          </a:p>
        </p:txBody>
      </p:sp>
    </p:spTree>
    <p:extLst>
      <p:ext uri="{BB962C8B-B14F-4D97-AF65-F5344CB8AC3E}">
        <p14:creationId xmlns:p14="http://schemas.microsoft.com/office/powerpoint/2010/main" val="1257995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BF7D8012-AD66-45AE-98B0-CB71F37525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7131" y="106910"/>
            <a:ext cx="608409" cy="701954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AC903C43-722A-4051-9187-A9F202DC567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67" y="109322"/>
            <a:ext cx="692696" cy="692696"/>
          </a:xfrm>
          <a:prstGeom prst="rect">
            <a:avLst/>
          </a:prstGeom>
        </p:spPr>
      </p:pic>
      <p:cxnSp>
        <p:nvCxnSpPr>
          <p:cNvPr id="12" name="Прямая соединительная линия 11"/>
          <p:cNvCxnSpPr/>
          <p:nvPr/>
        </p:nvCxnSpPr>
        <p:spPr>
          <a:xfrm>
            <a:off x="285720" y="928670"/>
            <a:ext cx="4320480" cy="0"/>
          </a:xfrm>
          <a:prstGeom prst="line">
            <a:avLst/>
          </a:prstGeom>
          <a:ln w="19050">
            <a:solidFill>
              <a:srgbClr val="2E65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3"/>
          <p:cNvSpPr txBox="1">
            <a:spLocks noChangeArrowheads="1"/>
          </p:cNvSpPr>
          <p:nvPr/>
        </p:nvSpPr>
        <p:spPr bwMode="auto">
          <a:xfrm>
            <a:off x="931772" y="121341"/>
            <a:ext cx="6983413" cy="520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/>
          </a:bodyPr>
          <a:lstStyle>
            <a:lvl1pPr algn="l" defTabSz="685800">
              <a:lnSpc>
                <a:spcPct val="90000"/>
              </a:lnSpc>
              <a:spcBef>
                <a:spcPts val="0"/>
              </a:spcBef>
              <a:buNone/>
              <a:defRPr sz="33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ru-RU" sz="1600" b="1" dirty="0" smtClean="0">
                <a:solidFill>
                  <a:srgbClr val="2E658E"/>
                </a:solidFill>
                <a:latin typeface="Arial"/>
                <a:cs typeface="Arial"/>
              </a:rPr>
              <a:t>Проект: </a:t>
            </a:r>
            <a:r>
              <a:rPr lang="ru-RU" sz="1400" b="1" dirty="0">
                <a:solidFill>
                  <a:srgbClr val="2E658E"/>
                </a:solidFill>
                <a:latin typeface="Arial"/>
                <a:cs typeface="Arial"/>
              </a:rPr>
              <a:t>Цифровая трансформация процесса оформления и </a:t>
            </a:r>
            <a:br>
              <a:rPr lang="ru-RU" sz="1400" b="1" dirty="0">
                <a:solidFill>
                  <a:srgbClr val="2E658E"/>
                </a:solidFill>
                <a:latin typeface="Arial"/>
                <a:cs typeface="Arial"/>
              </a:rPr>
            </a:br>
            <a:r>
              <a:rPr lang="ru-RU" sz="1400" b="1" dirty="0">
                <a:solidFill>
                  <a:srgbClr val="2E658E"/>
                </a:solidFill>
                <a:latin typeface="Arial"/>
                <a:cs typeface="Arial"/>
              </a:rPr>
              <a:t>выдачи справок гражданам</a:t>
            </a:r>
            <a:endParaRPr lang="en-US" sz="1400" b="1" dirty="0">
              <a:solidFill>
                <a:srgbClr val="2E658E"/>
              </a:solidFill>
              <a:latin typeface="Arial"/>
              <a:cs typeface="Arial"/>
            </a:endParaRP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6552856"/>
              </p:ext>
            </p:extLst>
          </p:nvPr>
        </p:nvGraphicFramePr>
        <p:xfrm>
          <a:off x="275516" y="1916832"/>
          <a:ext cx="8661368" cy="21858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9434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0035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33034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23632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74571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казатель</a:t>
                      </a:r>
                      <a:endParaRPr lang="ru-RU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сходное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остояние</a:t>
                      </a:r>
                      <a:endParaRPr lang="ru-RU" sz="1200" b="1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ru-RU" sz="1200" b="1" kern="120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екущее состояние</a:t>
                      </a:r>
                      <a:endParaRPr lang="ru-RU" sz="1200" b="1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ru-RU" sz="1200" b="1" kern="120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езультат</a:t>
                      </a:r>
                      <a:endParaRPr lang="ru-RU" sz="1200" b="1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4807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окращение времени </a:t>
                      </a:r>
                      <a:r>
                        <a:rPr lang="ru-RU" sz="12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</a:t>
                      </a:r>
                      <a:r>
                        <a:rPr lang="ru-RU" sz="1200" kern="120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реализацию процедуры</a:t>
                      </a:r>
                      <a:endParaRPr lang="ru-RU" sz="1200" kern="12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solidFill>
                            <a:srgbClr val="0070C0"/>
                          </a:solidFill>
                        </a:rPr>
                        <a:t>5 дней</a:t>
                      </a:r>
                      <a:endParaRPr lang="ru-RU" sz="2000" b="1" dirty="0">
                        <a:solidFill>
                          <a:srgbClr val="0070C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solidFill>
                            <a:srgbClr val="0070C0"/>
                          </a:solidFill>
                        </a:rPr>
                        <a:t>2 дня</a:t>
                      </a:r>
                      <a:endParaRPr lang="ru-RU" sz="2000" b="1" dirty="0">
                        <a:solidFill>
                          <a:srgbClr val="0070C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solidFill>
                            <a:srgbClr val="00B050"/>
                          </a:solidFill>
                        </a:rPr>
                        <a:t>- </a:t>
                      </a:r>
                      <a:r>
                        <a:rPr lang="ru-RU" sz="2000" b="1" dirty="0" smtClean="0">
                          <a:solidFill>
                            <a:srgbClr val="00B050"/>
                          </a:solidFill>
                        </a:rPr>
                        <a:t>3 дня</a:t>
                      </a:r>
                      <a:endParaRPr lang="ru-RU" sz="2000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9208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спользование при  оказании услуги  современных цифровых технологий </a:t>
                      </a:r>
                      <a:endParaRPr lang="ru-RU" sz="1200" kern="12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>
                          <a:solidFill>
                            <a:srgbClr val="0070C0"/>
                          </a:solidFill>
                        </a:rPr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>
                          <a:solidFill>
                            <a:srgbClr val="0070C0"/>
                          </a:solidFill>
                        </a:rPr>
                        <a:t>+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>
                          <a:solidFill>
                            <a:srgbClr val="00B050"/>
                          </a:solidFill>
                        </a:rPr>
                        <a:t>+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pic>
        <p:nvPicPr>
          <p:cNvPr id="17" name="Рисунок 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3369698" y="6273839"/>
            <a:ext cx="2107559" cy="531552"/>
          </a:xfrm>
          <a:prstGeom prst="rect">
            <a:avLst/>
          </a:prstGeom>
        </p:spPr>
      </p:pic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  <a:pPr/>
              <a:t>8</a:t>
            </a:fld>
            <a:endParaRPr lang="ru-RU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CF1E5C42-B4F0-48E8-B9E0-7D852F7FC375}"/>
              </a:ext>
            </a:extLst>
          </p:cNvPr>
          <p:cNvSpPr txBox="1"/>
          <p:nvPr/>
        </p:nvSpPr>
        <p:spPr>
          <a:xfrm>
            <a:off x="3262778" y="1418363"/>
            <a:ext cx="2862707" cy="3539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700" b="1" dirty="0">
                <a:solidFill>
                  <a:srgbClr val="2E658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Управленческий эффект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2373765D-0811-4C8C-8EA8-39CDB6DB1922}"/>
              </a:ext>
            </a:extLst>
          </p:cNvPr>
          <p:cNvSpPr txBox="1"/>
          <p:nvPr/>
        </p:nvSpPr>
        <p:spPr>
          <a:xfrm>
            <a:off x="2598085" y="928670"/>
            <a:ext cx="3947831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/>
          </a:bodyPr>
          <a:lstStyle>
            <a:lvl1pPr algn="ctr" defTabSz="685800" eaLnBrk="1" latinLnBrk="0" hangingPunct="1">
              <a:lnSpc>
                <a:spcPct val="90000"/>
              </a:lnSpc>
              <a:buNone/>
              <a:defRPr sz="2000" b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Итоги проекта</a:t>
            </a:r>
          </a:p>
        </p:txBody>
      </p:sp>
    </p:spTree>
    <p:extLst>
      <p:ext uri="{BB962C8B-B14F-4D97-AF65-F5344CB8AC3E}">
        <p14:creationId xmlns:p14="http://schemas.microsoft.com/office/powerpoint/2010/main" val="3033983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BF7D8012-AD66-45AE-98B0-CB71F37525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7131" y="106910"/>
            <a:ext cx="608409" cy="701954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AC903C43-722A-4051-9187-A9F202DC567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67" y="109322"/>
            <a:ext cx="692696" cy="692696"/>
          </a:xfrm>
          <a:prstGeom prst="rect">
            <a:avLst/>
          </a:prstGeom>
        </p:spPr>
      </p:pic>
      <p:cxnSp>
        <p:nvCxnSpPr>
          <p:cNvPr id="12" name="Прямая соединительная линия 11"/>
          <p:cNvCxnSpPr/>
          <p:nvPr/>
        </p:nvCxnSpPr>
        <p:spPr>
          <a:xfrm>
            <a:off x="285720" y="928670"/>
            <a:ext cx="4320480" cy="0"/>
          </a:xfrm>
          <a:prstGeom prst="line">
            <a:avLst/>
          </a:prstGeom>
          <a:ln w="19050">
            <a:solidFill>
              <a:srgbClr val="2E65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3"/>
          <p:cNvSpPr txBox="1">
            <a:spLocks noChangeArrowheads="1"/>
          </p:cNvSpPr>
          <p:nvPr/>
        </p:nvSpPr>
        <p:spPr bwMode="auto">
          <a:xfrm>
            <a:off x="931772" y="121341"/>
            <a:ext cx="6983413" cy="520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/>
          </a:bodyPr>
          <a:lstStyle>
            <a:lvl1pPr algn="l" defTabSz="685800">
              <a:lnSpc>
                <a:spcPct val="90000"/>
              </a:lnSpc>
              <a:spcBef>
                <a:spcPts val="0"/>
              </a:spcBef>
              <a:buNone/>
              <a:defRPr sz="33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ru-RU" sz="1600" b="1" dirty="0" smtClean="0">
                <a:solidFill>
                  <a:srgbClr val="2E658E"/>
                </a:solidFill>
                <a:latin typeface="Arial"/>
                <a:cs typeface="Arial"/>
              </a:rPr>
              <a:t>Проект: </a:t>
            </a:r>
            <a:r>
              <a:rPr lang="ru-RU" sz="1400" b="1" dirty="0">
                <a:solidFill>
                  <a:srgbClr val="2E658E"/>
                </a:solidFill>
                <a:latin typeface="Arial"/>
                <a:cs typeface="Arial"/>
              </a:rPr>
              <a:t>Цифровая трансформация процесса оформления и </a:t>
            </a:r>
            <a:br>
              <a:rPr lang="ru-RU" sz="1400" b="1" dirty="0">
                <a:solidFill>
                  <a:srgbClr val="2E658E"/>
                </a:solidFill>
                <a:latin typeface="Arial"/>
                <a:cs typeface="Arial"/>
              </a:rPr>
            </a:br>
            <a:r>
              <a:rPr lang="ru-RU" sz="1400" b="1" dirty="0">
                <a:solidFill>
                  <a:srgbClr val="2E658E"/>
                </a:solidFill>
                <a:latin typeface="Arial"/>
                <a:cs typeface="Arial"/>
              </a:rPr>
              <a:t>выдачи справок гражданам</a:t>
            </a:r>
            <a:endParaRPr lang="en-US" sz="1400" b="1" dirty="0">
              <a:solidFill>
                <a:srgbClr val="2E658E"/>
              </a:solidFill>
              <a:latin typeface="Arial"/>
              <a:cs typeface="Arial"/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3369698" y="6273839"/>
            <a:ext cx="2107559" cy="531552"/>
          </a:xfrm>
          <a:prstGeom prst="rect">
            <a:avLst/>
          </a:prstGeom>
        </p:spPr>
      </p:pic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  <a:pPr/>
              <a:t>9</a:t>
            </a:fld>
            <a:endParaRPr lang="ru-RU"/>
          </a:p>
        </p:txBody>
      </p:sp>
      <p:pic>
        <p:nvPicPr>
          <p:cNvPr id="14" name="Picture 3" descr="C:\Users\kameneva_a\Desktop\Рисунок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4077" y="3505172"/>
            <a:ext cx="3494192" cy="2361730"/>
          </a:xfrm>
          <a:prstGeom prst="rect">
            <a:avLst/>
          </a:prstGeom>
          <a:solidFill>
            <a:schemeClr val="tx1">
              <a:lumMod val="65000"/>
              <a:lumOff val="35000"/>
              <a:alpha val="80000"/>
            </a:schemeClr>
          </a:solidFill>
          <a:ln>
            <a:solidFill>
              <a:schemeClr val="accent1"/>
            </a:solidFill>
          </a:ln>
        </p:spPr>
      </p:pic>
      <p:sp>
        <p:nvSpPr>
          <p:cNvPr id="19" name="Двойная стрелка влево/вправо 36">
            <a:extLst>
              <a:ext uri="{FF2B5EF4-FFF2-40B4-BE49-F238E27FC236}">
                <a16:creationId xmlns:a16="http://schemas.microsoft.com/office/drawing/2014/main" xmlns="" id="{F540F31D-50C7-406C-BAF4-B6C241EBEE76}"/>
              </a:ext>
            </a:extLst>
          </p:cNvPr>
          <p:cNvSpPr/>
          <p:nvPr/>
        </p:nvSpPr>
        <p:spPr>
          <a:xfrm>
            <a:off x="207986" y="1692751"/>
            <a:ext cx="8320283" cy="57600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TextBox 19"/>
          <p:cNvSpPr txBox="1"/>
          <p:nvPr/>
        </p:nvSpPr>
        <p:spPr>
          <a:xfrm>
            <a:off x="207986" y="1796085"/>
            <a:ext cx="55446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chemeClr val="bg1"/>
                </a:solidFill>
              </a:rPr>
              <a:t>Время протекания процесса  = 5 дней 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21" name="Двойная стрелка влево/вправо 36">
            <a:extLst>
              <a:ext uri="{FF2B5EF4-FFF2-40B4-BE49-F238E27FC236}">
                <a16:creationId xmlns:a16="http://schemas.microsoft.com/office/drawing/2014/main" xmlns="" id="{AB1E7834-C168-4A5C-89E8-AD3BB686273F}"/>
              </a:ext>
            </a:extLst>
          </p:cNvPr>
          <p:cNvSpPr/>
          <p:nvPr/>
        </p:nvSpPr>
        <p:spPr>
          <a:xfrm>
            <a:off x="207986" y="2529369"/>
            <a:ext cx="3507812" cy="57600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2C36ACC6-923C-4472-9CD5-C713590C8683}"/>
              </a:ext>
            </a:extLst>
          </p:cNvPr>
          <p:cNvSpPr txBox="1"/>
          <p:nvPr/>
        </p:nvSpPr>
        <p:spPr>
          <a:xfrm>
            <a:off x="196767" y="2349737"/>
            <a:ext cx="3240360" cy="3404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/>
          </a:bodyPr>
          <a:lstStyle>
            <a:lvl1pPr algn="ctr" defTabSz="685800" eaLnBrk="1" latinLnBrk="0" hangingPunct="1">
              <a:lnSpc>
                <a:spcPct val="90000"/>
              </a:lnSpc>
              <a:buNone/>
              <a:defRPr sz="2000" b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1400" dirty="0" smtClean="0">
                <a:solidFill>
                  <a:srgbClr val="2E658E"/>
                </a:solidFill>
              </a:rPr>
              <a:t> Целевое  </a:t>
            </a:r>
            <a:r>
              <a:rPr lang="ru-RU" sz="1400" dirty="0">
                <a:solidFill>
                  <a:srgbClr val="2E658E"/>
                </a:solidFill>
              </a:rPr>
              <a:t>состояние процесса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207986" y="2632703"/>
            <a:ext cx="37271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</a:rPr>
              <a:t>Время протекания процесса  = 2</a:t>
            </a:r>
            <a:r>
              <a:rPr lang="ru-RU" sz="1400" b="1" dirty="0" smtClean="0">
                <a:solidFill>
                  <a:schemeClr val="bg1"/>
                </a:solidFill>
              </a:rPr>
              <a:t> дня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BE440D56-A7B6-4319-8A2A-9F79355D4C9F}"/>
              </a:ext>
            </a:extLst>
          </p:cNvPr>
          <p:cNvSpPr txBox="1"/>
          <p:nvPr/>
        </p:nvSpPr>
        <p:spPr>
          <a:xfrm>
            <a:off x="1571721" y="5917172"/>
            <a:ext cx="769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FF0000"/>
                </a:solidFill>
              </a:rPr>
              <a:t>Было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C1B978F4-C748-4825-80D8-7B421C2BF498}"/>
              </a:ext>
            </a:extLst>
          </p:cNvPr>
          <p:cNvSpPr txBox="1"/>
          <p:nvPr/>
        </p:nvSpPr>
        <p:spPr>
          <a:xfrm>
            <a:off x="6244775" y="5889647"/>
            <a:ext cx="848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00B050"/>
                </a:solidFill>
              </a:rPr>
              <a:t>Стало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2373765D-0811-4C8C-8EA8-39CDB6DB1922}"/>
              </a:ext>
            </a:extLst>
          </p:cNvPr>
          <p:cNvSpPr txBox="1"/>
          <p:nvPr/>
        </p:nvSpPr>
        <p:spPr>
          <a:xfrm>
            <a:off x="2598085" y="928670"/>
            <a:ext cx="3947831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/>
          </a:bodyPr>
          <a:lstStyle>
            <a:lvl1pPr algn="ctr" defTabSz="685800" eaLnBrk="1" latinLnBrk="0" hangingPunct="1">
              <a:lnSpc>
                <a:spcPct val="90000"/>
              </a:lnSpc>
              <a:buNone/>
              <a:defRPr sz="2000" b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Итоги проекта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2C36ACC6-923C-4472-9CD5-C713590C8683}"/>
              </a:ext>
            </a:extLst>
          </p:cNvPr>
          <p:cNvSpPr txBox="1"/>
          <p:nvPr/>
        </p:nvSpPr>
        <p:spPr>
          <a:xfrm>
            <a:off x="197015" y="1412776"/>
            <a:ext cx="3172683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/>
          </a:bodyPr>
          <a:lstStyle>
            <a:lvl1pPr algn="ctr" defTabSz="685800" eaLnBrk="1" latinLnBrk="0" hangingPunct="1">
              <a:lnSpc>
                <a:spcPct val="90000"/>
              </a:lnSpc>
              <a:buNone/>
              <a:defRPr sz="2000" b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1400" dirty="0" smtClean="0">
                <a:solidFill>
                  <a:srgbClr val="2E658E"/>
                </a:solidFill>
              </a:rPr>
              <a:t>Текущее </a:t>
            </a:r>
            <a:r>
              <a:rPr lang="ru-RU" sz="1400" dirty="0">
                <a:solidFill>
                  <a:srgbClr val="2E658E"/>
                </a:solidFill>
              </a:rPr>
              <a:t>состояние процесса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78" y="3483155"/>
            <a:ext cx="3462528" cy="2361730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771207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3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b-section81">
  <a:themeElements>
    <a:clrScheme name="b-section81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8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section8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81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81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81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81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81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81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2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4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0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4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7_b-default">
  <a:themeElements>
    <a:clrScheme name="b-default 4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4596D1"/>
      </a:accent1>
      <a:accent2>
        <a:srgbClr val="003274"/>
      </a:accent2>
      <a:accent3>
        <a:srgbClr val="FFFFFF"/>
      </a:accent3>
      <a:accent4>
        <a:srgbClr val="363637"/>
      </a:accent4>
      <a:accent5>
        <a:srgbClr val="B0C9E5"/>
      </a:accent5>
      <a:accent6>
        <a:srgbClr val="002C68"/>
      </a:accent6>
      <a:hlink>
        <a:srgbClr val="025EA1"/>
      </a:hlink>
      <a:folHlink>
        <a:srgbClr val="6CAEDF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16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2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19.xml><?xml version="1.0" encoding="utf-8"?>
<a:theme xmlns:a="http://schemas.openxmlformats.org/drawingml/2006/main" name="5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-content">
  <a:themeElements>
    <a:clrScheme name="b-conten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conte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conte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b-section33">
  <a:themeElements>
    <a:clrScheme name="b-section33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3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section3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b-section31">
  <a:themeElements>
    <a:clrScheme name="b-section31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3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section3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b-section32">
  <a:themeElements>
    <a:clrScheme name="b-section32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3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section3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b-section32">
  <a:themeElements>
    <a:clrScheme name="b-section32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3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section3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2_b-section32">
  <a:themeElements>
    <a:clrScheme name="b-section32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3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section3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3_b-section32">
  <a:themeElements>
    <a:clrScheme name="b-section32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3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section3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272FDFC25A4EEC44B95186AE3BA6EE45" ma:contentTypeVersion="4" ma:contentTypeDescription="Создание документа." ma:contentTypeScope="" ma:versionID="a565cb728e24214fdceb7b6e8f77a8e7">
  <xsd:schema xmlns:xsd="http://www.w3.org/2001/XMLSchema" xmlns:xs="http://www.w3.org/2001/XMLSchema" xmlns:p="http://schemas.microsoft.com/office/2006/metadata/properties" xmlns:ns2="ebb90d25-5675-4d93-b89a-22d06d515c2d" xmlns:ns3="63fe82be-98e6-4870-902a-71129d8aec8e" targetNamespace="http://schemas.microsoft.com/office/2006/metadata/properties" ma:root="true" ma:fieldsID="bb29a9acea4ed84c00a0d7e3657f33bc" ns2:_="" ns3:_="">
    <xsd:import namespace="ebb90d25-5675-4d93-b89a-22d06d515c2d"/>
    <xsd:import namespace="63fe82be-98e6-4870-902a-71129d8aec8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b90d25-5675-4d93-b89a-22d06d515c2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fe82be-98e6-4870-902a-71129d8aec8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Общий доступ с использованием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Совместно с подробностями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026B972-0FAD-4065-BF86-C3CA16BC476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6EF24F2-A0B1-4FDD-97F8-D9FBC7DEA6C7}">
  <ds:schemaRefs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http://purl.org/dc/dcmitype/"/>
    <ds:schemaRef ds:uri="http://www.w3.org/XML/1998/namespace"/>
    <ds:schemaRef ds:uri="63fe82be-98e6-4870-902a-71129d8aec8e"/>
    <ds:schemaRef ds:uri="ebb90d25-5675-4d93-b89a-22d06d515c2d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27A240F7-79D0-43E8-8E1F-83600FA1548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bb90d25-5675-4d93-b89a-22d06d515c2d"/>
    <ds:schemaRef ds:uri="63fe82be-98e6-4870-902a-71129d8aec8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225</TotalTime>
  <Words>522</Words>
  <Application>Microsoft Office PowerPoint</Application>
  <PresentationFormat>Экран (4:3)</PresentationFormat>
  <Paragraphs>146</Paragraphs>
  <Slides>9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20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30" baseType="lpstr">
      <vt:lpstr>b-default</vt:lpstr>
      <vt:lpstr>b-content</vt:lpstr>
      <vt:lpstr>b-section33</vt:lpstr>
      <vt:lpstr>b-section31</vt:lpstr>
      <vt:lpstr>b-section32</vt:lpstr>
      <vt:lpstr>1_b-section32</vt:lpstr>
      <vt:lpstr>2_b-section32</vt:lpstr>
      <vt:lpstr>3_b-section32</vt:lpstr>
      <vt:lpstr>1_b-default</vt:lpstr>
      <vt:lpstr>3_b-default</vt:lpstr>
      <vt:lpstr>b-section81</vt:lpstr>
      <vt:lpstr>22_b-default</vt:lpstr>
      <vt:lpstr>4_b-default</vt:lpstr>
      <vt:lpstr>10_b-default</vt:lpstr>
      <vt:lpstr>14_b-default</vt:lpstr>
      <vt:lpstr>17_b-default</vt:lpstr>
      <vt:lpstr>16_b-default</vt:lpstr>
      <vt:lpstr>2_RDM027</vt:lpstr>
      <vt:lpstr>5_b-default</vt:lpstr>
      <vt:lpstr>1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Rosatom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Egor Nazarov</dc:creator>
  <cp:lastModifiedBy>Каменева Анна Александровна</cp:lastModifiedBy>
  <cp:revision>5268</cp:revision>
  <cp:lastPrinted>2022-03-04T13:07:35Z</cp:lastPrinted>
  <dcterms:created xsi:type="dcterms:W3CDTF">2011-08-02T09:39:57Z</dcterms:created>
  <dcterms:modified xsi:type="dcterms:W3CDTF">2022-07-27T06:49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72FDFC25A4EEC44B95186AE3BA6EE45</vt:lpwstr>
  </property>
</Properties>
</file>